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912" r:id="rId6"/>
  </p:sldMasterIdLst>
  <p:notesMasterIdLst>
    <p:notesMasterId r:id="rId15"/>
  </p:notesMasterIdLst>
  <p:handoutMasterIdLst>
    <p:handoutMasterId r:id="rId16"/>
  </p:handoutMasterIdLst>
  <p:sldIdLst>
    <p:sldId id="258" r:id="rId7"/>
    <p:sldId id="406" r:id="rId8"/>
    <p:sldId id="264" r:id="rId9"/>
    <p:sldId id="265" r:id="rId10"/>
    <p:sldId id="410" r:id="rId11"/>
    <p:sldId id="411" r:id="rId12"/>
    <p:sldId id="407" r:id="rId13"/>
    <p:sldId id="408" r:id="rId14"/>
  </p:sldIdLst>
  <p:sldSz cx="12192000" cy="6858000"/>
  <p:notesSz cx="6858000" cy="9144000"/>
  <p:custDataLst>
    <p:tags r:id="rId17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Content Catalog" id="{4E249A1C-D928-4AC0-A77C-65440B7A141B}">
          <p14:sldIdLst>
            <p14:sldId id="258"/>
            <p14:sldId id="406"/>
            <p14:sldId id="264"/>
            <p14:sldId id="265"/>
            <p14:sldId id="410"/>
            <p14:sldId id="411"/>
            <p14:sldId id="407"/>
            <p14:sldId id="408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7E7"/>
    <a:srgbClr val="01D1D0"/>
    <a:srgbClr val="0070AD"/>
    <a:srgbClr val="FF7E83"/>
    <a:srgbClr val="2B0A3D"/>
    <a:srgbClr val="00C37B"/>
    <a:srgbClr val="95E616"/>
    <a:srgbClr val="4701A7"/>
    <a:srgbClr val="FF632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643B56-E832-4021-BF47-2EEB74F94362}" v="3" dt="2021-02-05T11:05:32.4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5291" autoAdjust="0"/>
  </p:normalViewPr>
  <p:slideViewPr>
    <p:cSldViewPr>
      <p:cViewPr varScale="1">
        <p:scale>
          <a:sx n="67" d="100"/>
          <a:sy n="67" d="100"/>
        </p:scale>
        <p:origin x="32" y="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, Ganesh" userId="S::ganesh.a.v@capgemini.com::10c3948a-9422-4d10-a6e4-c2e4eae982b0" providerId="AD" clId="Web-{C1643B56-E832-4021-BF47-2EEB74F94362}"/>
    <pc:docChg chg="modSld">
      <pc:chgData name="V, Ganesh" userId="S::ganesh.a.v@capgemini.com::10c3948a-9422-4d10-a6e4-c2e4eae982b0" providerId="AD" clId="Web-{C1643B56-E832-4021-BF47-2EEB74F94362}" dt="2021-02-05T11:05:32.447" v="2"/>
      <pc:docMkLst>
        <pc:docMk/>
      </pc:docMkLst>
      <pc:sldChg chg="addSp delSp modSp">
        <pc:chgData name="V, Ganesh" userId="S::ganesh.a.v@capgemini.com::10c3948a-9422-4d10-a6e4-c2e4eae982b0" providerId="AD" clId="Web-{C1643B56-E832-4021-BF47-2EEB74F94362}" dt="2021-02-05T11:05:32.447" v="2"/>
        <pc:sldMkLst>
          <pc:docMk/>
          <pc:sldMk cId="0" sldId="258"/>
        </pc:sldMkLst>
        <pc:spChg chg="add del mod">
          <ac:chgData name="V, Ganesh" userId="S::ganesh.a.v@capgemini.com::10c3948a-9422-4d10-a6e4-c2e4eae982b0" providerId="AD" clId="Web-{C1643B56-E832-4021-BF47-2EEB74F94362}" dt="2021-02-05T11:05:32.447" v="2"/>
          <ac:spMkLst>
            <pc:docMk/>
            <pc:sldMk cId="0" sldId="258"/>
            <ac:spMk id="3" creationId="{FC4FCB5B-2CEE-41A8-BBC1-CA90901B0CF0}"/>
          </ac:spMkLst>
        </pc:spChg>
        <pc:spChg chg="del mod">
          <ac:chgData name="V, Ganesh" userId="S::ganesh.a.v@capgemini.com::10c3948a-9422-4d10-a6e4-c2e4eae982b0" providerId="AD" clId="Web-{C1643B56-E832-4021-BF47-2EEB74F94362}" dt="2021-02-05T11:05:24.900" v="1"/>
          <ac:spMkLst>
            <pc:docMk/>
            <pc:sldMk cId="0" sldId="258"/>
            <ac:spMk id="5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AF5380-0577-4FC1-9E5E-716CAD18D5EF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CA811C3-73E5-40B2-B6A5-94D8A25565A2}">
      <dgm:prSet phldrT="[Text]" custT="1"/>
      <dgm:spPr/>
      <dgm:t>
        <a:bodyPr/>
        <a:lstStyle/>
        <a:p>
          <a:r>
            <a:rPr lang="en-IN" sz="1200" b="1" dirty="0"/>
            <a:t>Discover</a:t>
          </a:r>
        </a:p>
      </dgm:t>
    </dgm:pt>
    <dgm:pt modelId="{E5CE691B-BC41-4883-8D94-82FB11A515EF}" type="parTrans" cxnId="{437C5F86-4AF3-4167-8BD7-718EA8D7C645}">
      <dgm:prSet/>
      <dgm:spPr/>
      <dgm:t>
        <a:bodyPr/>
        <a:lstStyle/>
        <a:p>
          <a:endParaRPr lang="en-IN"/>
        </a:p>
      </dgm:t>
    </dgm:pt>
    <dgm:pt modelId="{657816E2-6DA2-44D3-AB0E-17562DECD817}" type="sibTrans" cxnId="{437C5F86-4AF3-4167-8BD7-718EA8D7C645}">
      <dgm:prSet/>
      <dgm:spPr/>
      <dgm:t>
        <a:bodyPr/>
        <a:lstStyle/>
        <a:p>
          <a:endParaRPr lang="en-IN"/>
        </a:p>
      </dgm:t>
    </dgm:pt>
    <dgm:pt modelId="{E0B74F71-4DBA-4FE3-9C22-B5D59224B569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Discover contains Standard Integration Content Catalog.</a:t>
          </a:r>
          <a:endParaRPr lang="en-IN" dirty="0"/>
        </a:p>
      </dgm:t>
    </dgm:pt>
    <dgm:pt modelId="{3E0DC040-C961-4071-806D-F2530786E190}" type="parTrans" cxnId="{008C27F8-544B-4415-BC2E-0F9F82F340F0}">
      <dgm:prSet/>
      <dgm:spPr/>
      <dgm:t>
        <a:bodyPr/>
        <a:lstStyle/>
        <a:p>
          <a:endParaRPr lang="en-IN"/>
        </a:p>
      </dgm:t>
    </dgm:pt>
    <dgm:pt modelId="{1CBB6F11-C419-4830-A0D8-0A0D9DAF4E53}" type="sibTrans" cxnId="{008C27F8-544B-4415-BC2E-0F9F82F340F0}">
      <dgm:prSet/>
      <dgm:spPr/>
      <dgm:t>
        <a:bodyPr/>
        <a:lstStyle/>
        <a:p>
          <a:endParaRPr lang="en-IN"/>
        </a:p>
      </dgm:t>
    </dgm:pt>
    <dgm:pt modelId="{F971802F-C61A-46E9-82C8-1A76BB586677}">
      <dgm:prSet phldrT="[Text]" custT="1"/>
      <dgm:spPr/>
      <dgm:t>
        <a:bodyPr/>
        <a:lstStyle/>
        <a:p>
          <a:r>
            <a:rPr lang="en-IN" sz="1200" b="1" dirty="0"/>
            <a:t>Design</a:t>
          </a:r>
        </a:p>
      </dgm:t>
    </dgm:pt>
    <dgm:pt modelId="{C811873E-9E93-4D05-850E-A1A96FB8003D}" type="parTrans" cxnId="{9B4AA38D-E712-4CD3-95A3-BBDA9CEB103E}">
      <dgm:prSet/>
      <dgm:spPr/>
      <dgm:t>
        <a:bodyPr/>
        <a:lstStyle/>
        <a:p>
          <a:endParaRPr lang="en-IN"/>
        </a:p>
      </dgm:t>
    </dgm:pt>
    <dgm:pt modelId="{3A638E97-7579-4601-91C0-90B06D6F836C}" type="sibTrans" cxnId="{9B4AA38D-E712-4CD3-95A3-BBDA9CEB103E}">
      <dgm:prSet/>
      <dgm:spPr/>
      <dgm:t>
        <a:bodyPr/>
        <a:lstStyle/>
        <a:p>
          <a:endParaRPr lang="en-IN"/>
        </a:p>
      </dgm:t>
    </dgm:pt>
    <dgm:pt modelId="{66E403BA-AE08-4155-8FBD-4D413D58A66F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Design helps to create/edit a content using Modelling area</a:t>
          </a:r>
          <a:endParaRPr lang="en-IN" dirty="0"/>
        </a:p>
      </dgm:t>
    </dgm:pt>
    <dgm:pt modelId="{91D43084-B9BD-4FDB-BFF2-0835DF9EB78D}" type="parTrans" cxnId="{CFB75158-8F5F-43D4-8764-B35456206A26}">
      <dgm:prSet/>
      <dgm:spPr/>
      <dgm:t>
        <a:bodyPr/>
        <a:lstStyle/>
        <a:p>
          <a:endParaRPr lang="en-IN"/>
        </a:p>
      </dgm:t>
    </dgm:pt>
    <dgm:pt modelId="{C99390A6-B802-40CB-868C-4090F5EF08AC}" type="sibTrans" cxnId="{CFB75158-8F5F-43D4-8764-B35456206A26}">
      <dgm:prSet/>
      <dgm:spPr/>
      <dgm:t>
        <a:bodyPr/>
        <a:lstStyle/>
        <a:p>
          <a:endParaRPr lang="en-IN"/>
        </a:p>
      </dgm:t>
    </dgm:pt>
    <dgm:pt modelId="{33CAE604-129F-45FE-9B01-3848C7A38B03}">
      <dgm:prSet phldrT="[Text]" custT="1"/>
      <dgm:spPr/>
      <dgm:t>
        <a:bodyPr/>
        <a:lstStyle/>
        <a:p>
          <a:r>
            <a:rPr lang="en-IN" sz="1200" b="1" dirty="0"/>
            <a:t>Operations/Monitor</a:t>
          </a:r>
        </a:p>
      </dgm:t>
    </dgm:pt>
    <dgm:pt modelId="{BD00B33C-2137-47D2-872C-74EF2085CE31}" type="parTrans" cxnId="{FEF1A874-3C45-4933-9F5D-AFDB6FC6D903}">
      <dgm:prSet/>
      <dgm:spPr/>
      <dgm:t>
        <a:bodyPr/>
        <a:lstStyle/>
        <a:p>
          <a:endParaRPr lang="en-IN"/>
        </a:p>
      </dgm:t>
    </dgm:pt>
    <dgm:pt modelId="{7494476E-40AE-49C7-A966-84F33AF573DB}" type="sibTrans" cxnId="{FEF1A874-3C45-4933-9F5D-AFDB6FC6D903}">
      <dgm:prSet/>
      <dgm:spPr/>
      <dgm:t>
        <a:bodyPr/>
        <a:lstStyle/>
        <a:p>
          <a:endParaRPr lang="en-IN"/>
        </a:p>
      </dgm:t>
    </dgm:pt>
    <dgm:pt modelId="{9AC3F203-0391-4409-934B-EA0EEF30CCDF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Operation’s view is used to monitor deployed content and messages processed in the tenant .</a:t>
          </a:r>
          <a:endParaRPr lang="en-IN" dirty="0"/>
        </a:p>
      </dgm:t>
    </dgm:pt>
    <dgm:pt modelId="{97D697FB-01F9-4D44-93F5-B6DC868D7824}" type="parTrans" cxnId="{47B156EB-D6CC-42F5-810C-090672F61E7A}">
      <dgm:prSet/>
      <dgm:spPr/>
      <dgm:t>
        <a:bodyPr/>
        <a:lstStyle/>
        <a:p>
          <a:endParaRPr lang="en-IN"/>
        </a:p>
      </dgm:t>
    </dgm:pt>
    <dgm:pt modelId="{C6B3A8BB-C894-4FA8-A246-D594976DAFCB}" type="sibTrans" cxnId="{47B156EB-D6CC-42F5-810C-090672F61E7A}">
      <dgm:prSet/>
      <dgm:spPr/>
      <dgm:t>
        <a:bodyPr/>
        <a:lstStyle/>
        <a:p>
          <a:endParaRPr lang="en-IN"/>
        </a:p>
      </dgm:t>
    </dgm:pt>
    <dgm:pt modelId="{4B6C446D-99F5-4E06-BDDD-C42060FFC979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Contains Message Processing logs, Connectivity Tests, Security Materials, Logs and Traces</a:t>
          </a:r>
          <a:endParaRPr lang="en-IN" dirty="0"/>
        </a:p>
      </dgm:t>
    </dgm:pt>
    <dgm:pt modelId="{C2CCDD77-0DAD-4984-9C9F-9D0BABA83A11}" type="parTrans" cxnId="{1E701DD8-309A-4472-8EBE-58B85384658C}">
      <dgm:prSet/>
      <dgm:spPr/>
      <dgm:t>
        <a:bodyPr/>
        <a:lstStyle/>
        <a:p>
          <a:endParaRPr lang="en-IN"/>
        </a:p>
      </dgm:t>
    </dgm:pt>
    <dgm:pt modelId="{EE4744DD-A0D3-40ED-99C8-87EB7C3CDE05}" type="sibTrans" cxnId="{1E701DD8-309A-4472-8EBE-58B85384658C}">
      <dgm:prSet/>
      <dgm:spPr/>
      <dgm:t>
        <a:bodyPr/>
        <a:lstStyle/>
        <a:p>
          <a:endParaRPr lang="en-IN"/>
        </a:p>
      </dgm:t>
    </dgm:pt>
    <dgm:pt modelId="{A8B456E8-6A9E-45C0-97D5-C7063021F578}" type="pres">
      <dgm:prSet presAssocID="{B2AF5380-0577-4FC1-9E5E-716CAD18D5EF}" presName="linearFlow" presStyleCnt="0">
        <dgm:presLayoutVars>
          <dgm:dir/>
          <dgm:animLvl val="lvl"/>
          <dgm:resizeHandles val="exact"/>
        </dgm:presLayoutVars>
      </dgm:prSet>
      <dgm:spPr/>
    </dgm:pt>
    <dgm:pt modelId="{4D6081E4-1C18-4D60-903C-CB94AE8D7963}" type="pres">
      <dgm:prSet presAssocID="{4CA811C3-73E5-40B2-B6A5-94D8A25565A2}" presName="composite" presStyleCnt="0"/>
      <dgm:spPr/>
    </dgm:pt>
    <dgm:pt modelId="{FC838E39-A6A1-444B-B306-D262C136D55F}" type="pres">
      <dgm:prSet presAssocID="{4CA811C3-73E5-40B2-B6A5-94D8A25565A2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2F6DBE83-22EF-40CC-A91F-7DE752C4A507}" type="pres">
      <dgm:prSet presAssocID="{4CA811C3-73E5-40B2-B6A5-94D8A25565A2}" presName="descendantText" presStyleLbl="alignAcc1" presStyleIdx="0" presStyleCnt="3">
        <dgm:presLayoutVars>
          <dgm:bulletEnabled val="1"/>
        </dgm:presLayoutVars>
      </dgm:prSet>
      <dgm:spPr/>
    </dgm:pt>
    <dgm:pt modelId="{256F39EA-24BA-4772-BE48-704C93C09E08}" type="pres">
      <dgm:prSet presAssocID="{657816E2-6DA2-44D3-AB0E-17562DECD817}" presName="sp" presStyleCnt="0"/>
      <dgm:spPr/>
    </dgm:pt>
    <dgm:pt modelId="{7FB34352-5A5F-4043-B2B2-87F4338A4B63}" type="pres">
      <dgm:prSet presAssocID="{F971802F-C61A-46E9-82C8-1A76BB586677}" presName="composite" presStyleCnt="0"/>
      <dgm:spPr/>
    </dgm:pt>
    <dgm:pt modelId="{B79A318F-B639-4B0A-86E0-4EBA08CB36E0}" type="pres">
      <dgm:prSet presAssocID="{F971802F-C61A-46E9-82C8-1A76BB586677}" presName="parentText" presStyleLbl="alignNode1" presStyleIdx="1" presStyleCnt="3" custLinFactNeighborX="-48845" custLinFactNeighborY="-1288">
        <dgm:presLayoutVars>
          <dgm:chMax val="1"/>
          <dgm:bulletEnabled val="1"/>
        </dgm:presLayoutVars>
      </dgm:prSet>
      <dgm:spPr/>
    </dgm:pt>
    <dgm:pt modelId="{24F8C925-837C-457C-A8E0-6DB83233C518}" type="pres">
      <dgm:prSet presAssocID="{F971802F-C61A-46E9-82C8-1A76BB586677}" presName="descendantText" presStyleLbl="alignAcc1" presStyleIdx="1" presStyleCnt="3">
        <dgm:presLayoutVars>
          <dgm:bulletEnabled val="1"/>
        </dgm:presLayoutVars>
      </dgm:prSet>
      <dgm:spPr/>
    </dgm:pt>
    <dgm:pt modelId="{5C23FAD9-F81F-4B0E-8FB0-7D779C5BD9EF}" type="pres">
      <dgm:prSet presAssocID="{3A638E97-7579-4601-91C0-90B06D6F836C}" presName="sp" presStyleCnt="0"/>
      <dgm:spPr/>
    </dgm:pt>
    <dgm:pt modelId="{EA4D1CCA-FD2B-4505-9623-7C7D9730A792}" type="pres">
      <dgm:prSet presAssocID="{33CAE604-129F-45FE-9B01-3848C7A38B03}" presName="composite" presStyleCnt="0"/>
      <dgm:spPr/>
    </dgm:pt>
    <dgm:pt modelId="{59C5AE2A-3D53-45A4-983F-D0FCB1319523}" type="pres">
      <dgm:prSet presAssocID="{33CAE604-129F-45FE-9B01-3848C7A38B03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9D75A595-949C-4493-921A-5F51C6B39CFE}" type="pres">
      <dgm:prSet presAssocID="{33CAE604-129F-45FE-9B01-3848C7A38B03}" presName="descendantText" presStyleLbl="alignAcc1" presStyleIdx="2" presStyleCnt="3" custLinFactNeighborX="-164" custLinFactNeighborY="10143">
        <dgm:presLayoutVars>
          <dgm:bulletEnabled val="1"/>
        </dgm:presLayoutVars>
      </dgm:prSet>
      <dgm:spPr/>
    </dgm:pt>
  </dgm:ptLst>
  <dgm:cxnLst>
    <dgm:cxn modelId="{6B987501-03FE-450C-B25D-88FE7CD429AC}" type="presOf" srcId="{E0B74F71-4DBA-4FE3-9C22-B5D59224B569}" destId="{2F6DBE83-22EF-40CC-A91F-7DE752C4A507}" srcOrd="0" destOrd="0" presId="urn:microsoft.com/office/officeart/2005/8/layout/chevron2"/>
    <dgm:cxn modelId="{AF2E3A1B-91F4-44BE-B442-D443824FF3F9}" type="presOf" srcId="{33CAE604-129F-45FE-9B01-3848C7A38B03}" destId="{59C5AE2A-3D53-45A4-983F-D0FCB1319523}" srcOrd="0" destOrd="0" presId="urn:microsoft.com/office/officeart/2005/8/layout/chevron2"/>
    <dgm:cxn modelId="{30235137-1013-4683-8173-80236784DF6D}" type="presOf" srcId="{66E403BA-AE08-4155-8FBD-4D413D58A66F}" destId="{24F8C925-837C-457C-A8E0-6DB83233C518}" srcOrd="0" destOrd="0" presId="urn:microsoft.com/office/officeart/2005/8/layout/chevron2"/>
    <dgm:cxn modelId="{C750224D-78CC-4A67-B743-9C1851F8D8BC}" type="presOf" srcId="{9AC3F203-0391-4409-934B-EA0EEF30CCDF}" destId="{9D75A595-949C-4493-921A-5F51C6B39CFE}" srcOrd="0" destOrd="0" presId="urn:microsoft.com/office/officeart/2005/8/layout/chevron2"/>
    <dgm:cxn modelId="{B814BF6F-3FEF-4327-B619-54A6F4DE6230}" type="presOf" srcId="{4CA811C3-73E5-40B2-B6A5-94D8A25565A2}" destId="{FC838E39-A6A1-444B-B306-D262C136D55F}" srcOrd="0" destOrd="0" presId="urn:microsoft.com/office/officeart/2005/8/layout/chevron2"/>
    <dgm:cxn modelId="{FEF1A874-3C45-4933-9F5D-AFDB6FC6D903}" srcId="{B2AF5380-0577-4FC1-9E5E-716CAD18D5EF}" destId="{33CAE604-129F-45FE-9B01-3848C7A38B03}" srcOrd="2" destOrd="0" parTransId="{BD00B33C-2137-47D2-872C-74EF2085CE31}" sibTransId="{7494476E-40AE-49C7-A966-84F33AF573DB}"/>
    <dgm:cxn modelId="{CFB75158-8F5F-43D4-8764-B35456206A26}" srcId="{F971802F-C61A-46E9-82C8-1A76BB586677}" destId="{66E403BA-AE08-4155-8FBD-4D413D58A66F}" srcOrd="0" destOrd="0" parTransId="{91D43084-B9BD-4FDB-BFF2-0835DF9EB78D}" sibTransId="{C99390A6-B802-40CB-868C-4090F5EF08AC}"/>
    <dgm:cxn modelId="{12B12059-D985-4C3A-A973-F62BF653461C}" type="presOf" srcId="{B2AF5380-0577-4FC1-9E5E-716CAD18D5EF}" destId="{A8B456E8-6A9E-45C0-97D5-C7063021F578}" srcOrd="0" destOrd="0" presId="urn:microsoft.com/office/officeart/2005/8/layout/chevron2"/>
    <dgm:cxn modelId="{437C5F86-4AF3-4167-8BD7-718EA8D7C645}" srcId="{B2AF5380-0577-4FC1-9E5E-716CAD18D5EF}" destId="{4CA811C3-73E5-40B2-B6A5-94D8A25565A2}" srcOrd="0" destOrd="0" parTransId="{E5CE691B-BC41-4883-8D94-82FB11A515EF}" sibTransId="{657816E2-6DA2-44D3-AB0E-17562DECD817}"/>
    <dgm:cxn modelId="{9B4AA38D-E712-4CD3-95A3-BBDA9CEB103E}" srcId="{B2AF5380-0577-4FC1-9E5E-716CAD18D5EF}" destId="{F971802F-C61A-46E9-82C8-1A76BB586677}" srcOrd="1" destOrd="0" parTransId="{C811873E-9E93-4D05-850E-A1A96FB8003D}" sibTransId="{3A638E97-7579-4601-91C0-90B06D6F836C}"/>
    <dgm:cxn modelId="{0A7582A8-E142-4E20-9C48-D1A0DE25D2DB}" type="presOf" srcId="{4B6C446D-99F5-4E06-BDDD-C42060FFC979}" destId="{9D75A595-949C-4493-921A-5F51C6B39CFE}" srcOrd="0" destOrd="1" presId="urn:microsoft.com/office/officeart/2005/8/layout/chevron2"/>
    <dgm:cxn modelId="{1E701DD8-309A-4472-8EBE-58B85384658C}" srcId="{33CAE604-129F-45FE-9B01-3848C7A38B03}" destId="{4B6C446D-99F5-4E06-BDDD-C42060FFC979}" srcOrd="1" destOrd="0" parTransId="{C2CCDD77-0DAD-4984-9C9F-9D0BABA83A11}" sibTransId="{EE4744DD-A0D3-40ED-99C8-87EB7C3CDE05}"/>
    <dgm:cxn modelId="{47B156EB-D6CC-42F5-810C-090672F61E7A}" srcId="{33CAE604-129F-45FE-9B01-3848C7A38B03}" destId="{9AC3F203-0391-4409-934B-EA0EEF30CCDF}" srcOrd="0" destOrd="0" parTransId="{97D697FB-01F9-4D44-93F5-B6DC868D7824}" sibTransId="{C6B3A8BB-C894-4FA8-A246-D594976DAFCB}"/>
    <dgm:cxn modelId="{74DDA9EE-B4F6-492C-B9DE-C389F45F0A0A}" type="presOf" srcId="{F971802F-C61A-46E9-82C8-1A76BB586677}" destId="{B79A318F-B639-4B0A-86E0-4EBA08CB36E0}" srcOrd="0" destOrd="0" presId="urn:microsoft.com/office/officeart/2005/8/layout/chevron2"/>
    <dgm:cxn modelId="{008C27F8-544B-4415-BC2E-0F9F82F340F0}" srcId="{4CA811C3-73E5-40B2-B6A5-94D8A25565A2}" destId="{E0B74F71-4DBA-4FE3-9C22-B5D59224B569}" srcOrd="0" destOrd="0" parTransId="{3E0DC040-C961-4071-806D-F2530786E190}" sibTransId="{1CBB6F11-C419-4830-A0D8-0A0D9DAF4E53}"/>
    <dgm:cxn modelId="{E9A1D49C-8EA3-4D9C-80AA-E21AADC70576}" type="presParOf" srcId="{A8B456E8-6A9E-45C0-97D5-C7063021F578}" destId="{4D6081E4-1C18-4D60-903C-CB94AE8D7963}" srcOrd="0" destOrd="0" presId="urn:microsoft.com/office/officeart/2005/8/layout/chevron2"/>
    <dgm:cxn modelId="{2FB319B2-6BBE-404B-A52E-4303D07102D5}" type="presParOf" srcId="{4D6081E4-1C18-4D60-903C-CB94AE8D7963}" destId="{FC838E39-A6A1-444B-B306-D262C136D55F}" srcOrd="0" destOrd="0" presId="urn:microsoft.com/office/officeart/2005/8/layout/chevron2"/>
    <dgm:cxn modelId="{8AE17ED4-993C-43F9-A7E1-6B6B76AD3FFD}" type="presParOf" srcId="{4D6081E4-1C18-4D60-903C-CB94AE8D7963}" destId="{2F6DBE83-22EF-40CC-A91F-7DE752C4A507}" srcOrd="1" destOrd="0" presId="urn:microsoft.com/office/officeart/2005/8/layout/chevron2"/>
    <dgm:cxn modelId="{F37FF582-FB43-4686-B916-15681A522041}" type="presParOf" srcId="{A8B456E8-6A9E-45C0-97D5-C7063021F578}" destId="{256F39EA-24BA-4772-BE48-704C93C09E08}" srcOrd="1" destOrd="0" presId="urn:microsoft.com/office/officeart/2005/8/layout/chevron2"/>
    <dgm:cxn modelId="{C35F0372-F268-4CFC-A257-85962BFF347C}" type="presParOf" srcId="{A8B456E8-6A9E-45C0-97D5-C7063021F578}" destId="{7FB34352-5A5F-4043-B2B2-87F4338A4B63}" srcOrd="2" destOrd="0" presId="urn:microsoft.com/office/officeart/2005/8/layout/chevron2"/>
    <dgm:cxn modelId="{9DCAB607-4EC2-41C9-AF05-C15B674B133D}" type="presParOf" srcId="{7FB34352-5A5F-4043-B2B2-87F4338A4B63}" destId="{B79A318F-B639-4B0A-86E0-4EBA08CB36E0}" srcOrd="0" destOrd="0" presId="urn:microsoft.com/office/officeart/2005/8/layout/chevron2"/>
    <dgm:cxn modelId="{10753602-117F-47BB-AAD8-A2DAEDC4F9B1}" type="presParOf" srcId="{7FB34352-5A5F-4043-B2B2-87F4338A4B63}" destId="{24F8C925-837C-457C-A8E0-6DB83233C518}" srcOrd="1" destOrd="0" presId="urn:microsoft.com/office/officeart/2005/8/layout/chevron2"/>
    <dgm:cxn modelId="{EAF0289C-C92B-4535-BFC4-FE46E0C56BC3}" type="presParOf" srcId="{A8B456E8-6A9E-45C0-97D5-C7063021F578}" destId="{5C23FAD9-F81F-4B0E-8FB0-7D779C5BD9EF}" srcOrd="3" destOrd="0" presId="urn:microsoft.com/office/officeart/2005/8/layout/chevron2"/>
    <dgm:cxn modelId="{AEB40848-AE13-4072-AA4C-24F7A2DE0D06}" type="presParOf" srcId="{A8B456E8-6A9E-45C0-97D5-C7063021F578}" destId="{EA4D1CCA-FD2B-4505-9623-7C7D9730A792}" srcOrd="4" destOrd="0" presId="urn:microsoft.com/office/officeart/2005/8/layout/chevron2"/>
    <dgm:cxn modelId="{59A77263-D0A3-4730-B353-F584B6774168}" type="presParOf" srcId="{EA4D1CCA-FD2B-4505-9623-7C7D9730A792}" destId="{59C5AE2A-3D53-45A4-983F-D0FCB1319523}" srcOrd="0" destOrd="0" presId="urn:microsoft.com/office/officeart/2005/8/layout/chevron2"/>
    <dgm:cxn modelId="{C1A76EB2-95BA-428D-85F0-FAB161114B2B}" type="presParOf" srcId="{EA4D1CCA-FD2B-4505-9623-7C7D9730A792}" destId="{9D75A595-949C-4493-921A-5F51C6B39CF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DDC1DE3-705C-4F7C-9BB3-BBB6BB8DD2E1}" type="doc">
      <dgm:prSet loTypeId="urn:microsoft.com/office/officeart/2005/8/layout/radial1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11B2E90-9CE4-40B2-B6CA-FE4CF82507E2}">
      <dgm:prSet phldrT="[Text]"/>
      <dgm:spPr/>
      <dgm:t>
        <a:bodyPr/>
        <a:lstStyle/>
        <a:p>
          <a:r>
            <a:rPr lang="en-IN" b="1" dirty="0"/>
            <a:t>Streams</a:t>
          </a:r>
        </a:p>
      </dgm:t>
    </dgm:pt>
    <dgm:pt modelId="{19C4FBC0-B5FE-4EA3-A6F2-5C2B34425AC5}" type="parTrans" cxnId="{4D39F709-845D-48DB-BCD6-DEE0544246AA}">
      <dgm:prSet/>
      <dgm:spPr/>
      <dgm:t>
        <a:bodyPr/>
        <a:lstStyle/>
        <a:p>
          <a:endParaRPr lang="en-IN"/>
        </a:p>
      </dgm:t>
    </dgm:pt>
    <dgm:pt modelId="{5EFD91F4-1204-48CF-BFEB-6085F964AE6D}" type="sibTrans" cxnId="{4D39F709-845D-48DB-BCD6-DEE0544246AA}">
      <dgm:prSet/>
      <dgm:spPr/>
      <dgm:t>
        <a:bodyPr/>
        <a:lstStyle/>
        <a:p>
          <a:endParaRPr lang="en-IN"/>
        </a:p>
      </dgm:t>
    </dgm:pt>
    <dgm:pt modelId="{3BECBD1D-0FB6-42B5-BF4C-0257F64BDE62}">
      <dgm:prSet phldrT="[Text]" custT="1"/>
      <dgm:spPr/>
      <dgm:t>
        <a:bodyPr/>
        <a:lstStyle/>
        <a:p>
          <a:r>
            <a:rPr lang="en-IN" sz="800" b="1" dirty="0"/>
            <a:t>Vendor</a:t>
          </a:r>
        </a:p>
      </dgm:t>
    </dgm:pt>
    <dgm:pt modelId="{25560F1D-66E6-4ACF-A182-AD2AFDA5D89C}" type="parTrans" cxnId="{9E39065E-5D20-4D90-97BF-29EF1DC6733B}">
      <dgm:prSet/>
      <dgm:spPr/>
      <dgm:t>
        <a:bodyPr/>
        <a:lstStyle/>
        <a:p>
          <a:endParaRPr lang="en-IN"/>
        </a:p>
      </dgm:t>
    </dgm:pt>
    <dgm:pt modelId="{FE5FECE8-8D21-4C01-B23C-F328950C1D9E}" type="sibTrans" cxnId="{9E39065E-5D20-4D90-97BF-29EF1DC6733B}">
      <dgm:prSet/>
      <dgm:spPr/>
      <dgm:t>
        <a:bodyPr/>
        <a:lstStyle/>
        <a:p>
          <a:endParaRPr lang="en-IN"/>
        </a:p>
      </dgm:t>
    </dgm:pt>
    <dgm:pt modelId="{DA45F6E6-9922-429A-8814-F36225B44426}">
      <dgm:prSet phldrT="[Text]" custT="1"/>
      <dgm:spPr/>
      <dgm:t>
        <a:bodyPr/>
        <a:lstStyle/>
        <a:p>
          <a:r>
            <a:rPr lang="en-IN" sz="800" b="1" dirty="0"/>
            <a:t>Supported Platforms</a:t>
          </a:r>
        </a:p>
      </dgm:t>
    </dgm:pt>
    <dgm:pt modelId="{37F0E33E-3441-4D06-B6A1-62F4EB14D24D}" type="parTrans" cxnId="{1F78DAC9-D601-4A44-8A17-0BB1B35173CC}">
      <dgm:prSet/>
      <dgm:spPr/>
      <dgm:t>
        <a:bodyPr/>
        <a:lstStyle/>
        <a:p>
          <a:endParaRPr lang="en-IN"/>
        </a:p>
      </dgm:t>
    </dgm:pt>
    <dgm:pt modelId="{112EBB85-27C4-4A97-B46B-3A3D6E2B1B48}" type="sibTrans" cxnId="{1F78DAC9-D601-4A44-8A17-0BB1B35173CC}">
      <dgm:prSet/>
      <dgm:spPr/>
      <dgm:t>
        <a:bodyPr/>
        <a:lstStyle/>
        <a:p>
          <a:endParaRPr lang="en-IN"/>
        </a:p>
      </dgm:t>
    </dgm:pt>
    <dgm:pt modelId="{3F052DB4-6AF7-4813-BACE-A2E704DBB37F}">
      <dgm:prSet phldrT="[Text]" custT="1"/>
      <dgm:spPr/>
      <dgm:t>
        <a:bodyPr/>
        <a:lstStyle/>
        <a:p>
          <a:r>
            <a:rPr lang="en-IN" sz="800" b="1" dirty="0"/>
            <a:t>Line of Business</a:t>
          </a:r>
        </a:p>
      </dgm:t>
    </dgm:pt>
    <dgm:pt modelId="{6D33F3FC-0E10-4284-A597-77C5975B7BA4}" type="parTrans" cxnId="{628A77C9-4A50-4D11-B6F3-1B5AEA68BFDD}">
      <dgm:prSet/>
      <dgm:spPr/>
      <dgm:t>
        <a:bodyPr/>
        <a:lstStyle/>
        <a:p>
          <a:endParaRPr lang="en-IN"/>
        </a:p>
      </dgm:t>
    </dgm:pt>
    <dgm:pt modelId="{91BE8363-81F0-4BE8-8E4A-B3F51ADC2DB3}" type="sibTrans" cxnId="{628A77C9-4A50-4D11-B6F3-1B5AEA68BFDD}">
      <dgm:prSet/>
      <dgm:spPr/>
      <dgm:t>
        <a:bodyPr/>
        <a:lstStyle/>
        <a:p>
          <a:endParaRPr lang="en-IN"/>
        </a:p>
      </dgm:t>
    </dgm:pt>
    <dgm:pt modelId="{CF1D5E6A-4E50-4BE8-AD40-D29D0D8CBC73}">
      <dgm:prSet phldrT="[Text]" custT="1"/>
      <dgm:spPr/>
      <dgm:t>
        <a:bodyPr/>
        <a:lstStyle/>
        <a:p>
          <a:r>
            <a:rPr lang="en-IN" sz="800" b="1" dirty="0"/>
            <a:t>Industries</a:t>
          </a:r>
        </a:p>
      </dgm:t>
    </dgm:pt>
    <dgm:pt modelId="{E6E3FDDC-5659-4D7A-B738-5D1B0D749651}" type="parTrans" cxnId="{FB602B74-0C19-4960-BE8F-E5A5DA4E683C}">
      <dgm:prSet/>
      <dgm:spPr/>
      <dgm:t>
        <a:bodyPr/>
        <a:lstStyle/>
        <a:p>
          <a:endParaRPr lang="en-IN"/>
        </a:p>
      </dgm:t>
    </dgm:pt>
    <dgm:pt modelId="{1CF2E2ED-6FD1-4415-9EDB-7802178DAD39}" type="sibTrans" cxnId="{FB602B74-0C19-4960-BE8F-E5A5DA4E683C}">
      <dgm:prSet/>
      <dgm:spPr/>
      <dgm:t>
        <a:bodyPr/>
        <a:lstStyle/>
        <a:p>
          <a:endParaRPr lang="en-IN"/>
        </a:p>
      </dgm:t>
    </dgm:pt>
    <dgm:pt modelId="{5EB21259-E629-4C9D-8714-55E1EE19D5E5}">
      <dgm:prSet custT="1"/>
      <dgm:spPr/>
      <dgm:t>
        <a:bodyPr/>
        <a:lstStyle/>
        <a:p>
          <a:r>
            <a:rPr lang="en-IN" sz="800" b="1" dirty="0"/>
            <a:t>Products</a:t>
          </a:r>
        </a:p>
      </dgm:t>
      <dgm:extLst>
        <a:ext uri="{E40237B7-FDA0-4F09-8148-C483321AD2D9}">
          <dgm14:cNvPr xmlns:dgm14="http://schemas.microsoft.com/office/drawing/2010/diagram" id="0" name="" descr="Products&#10;" title="Products"/>
        </a:ext>
      </dgm:extLst>
    </dgm:pt>
    <dgm:pt modelId="{ADCEE885-0F84-47F8-894C-4CAC4CDB1E68}" type="parTrans" cxnId="{DEA5C89B-16CA-401F-803B-1CB22C520E0E}">
      <dgm:prSet/>
      <dgm:spPr/>
      <dgm:t>
        <a:bodyPr/>
        <a:lstStyle/>
        <a:p>
          <a:endParaRPr lang="en-IN"/>
        </a:p>
      </dgm:t>
    </dgm:pt>
    <dgm:pt modelId="{96E6B873-3192-4566-9E75-DB5C9CAC03E6}" type="sibTrans" cxnId="{DEA5C89B-16CA-401F-803B-1CB22C520E0E}">
      <dgm:prSet/>
      <dgm:spPr/>
      <dgm:t>
        <a:bodyPr/>
        <a:lstStyle/>
        <a:p>
          <a:endParaRPr lang="en-IN"/>
        </a:p>
      </dgm:t>
    </dgm:pt>
    <dgm:pt modelId="{BEAE320C-2E66-4D5B-8B47-B6EE3F782E5B}">
      <dgm:prSet custT="1"/>
      <dgm:spPr/>
      <dgm:t>
        <a:bodyPr/>
        <a:lstStyle/>
        <a:p>
          <a:r>
            <a:rPr lang="en-IN" sz="800" b="1" dirty="0"/>
            <a:t>Countries</a:t>
          </a:r>
        </a:p>
      </dgm:t>
    </dgm:pt>
    <dgm:pt modelId="{8F40D44B-1B80-47DE-9399-F07D135DA0F4}" type="parTrans" cxnId="{C58C8078-5D31-468A-8A09-0BFBE2F481F5}">
      <dgm:prSet/>
      <dgm:spPr/>
      <dgm:t>
        <a:bodyPr/>
        <a:lstStyle/>
        <a:p>
          <a:endParaRPr lang="en-IN"/>
        </a:p>
      </dgm:t>
    </dgm:pt>
    <dgm:pt modelId="{EC7DF901-377B-45F9-8008-0B20046E0230}" type="sibTrans" cxnId="{C58C8078-5D31-468A-8A09-0BFBE2F481F5}">
      <dgm:prSet/>
      <dgm:spPr/>
      <dgm:t>
        <a:bodyPr/>
        <a:lstStyle/>
        <a:p>
          <a:endParaRPr lang="en-IN"/>
        </a:p>
      </dgm:t>
    </dgm:pt>
    <dgm:pt modelId="{5389E375-B0D4-47A3-B881-B5A524709D75}" type="pres">
      <dgm:prSet presAssocID="{EDDC1DE3-705C-4F7C-9BB3-BBB6BB8DD2E1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B800BB7-A143-486C-A386-3C6B8C6965CE}" type="pres">
      <dgm:prSet presAssocID="{911B2E90-9CE4-40B2-B6CA-FE4CF82507E2}" presName="centerShape" presStyleLbl="node0" presStyleIdx="0" presStyleCnt="1"/>
      <dgm:spPr/>
    </dgm:pt>
    <dgm:pt modelId="{B01A79C7-6402-4243-BF17-F1E37FCDF7E5}" type="pres">
      <dgm:prSet presAssocID="{25560F1D-66E6-4ACF-A182-AD2AFDA5D89C}" presName="Name9" presStyleLbl="parChTrans1D2" presStyleIdx="0" presStyleCnt="6"/>
      <dgm:spPr/>
    </dgm:pt>
    <dgm:pt modelId="{7BD67683-2650-43D7-9907-166AEBF980EF}" type="pres">
      <dgm:prSet presAssocID="{25560F1D-66E6-4ACF-A182-AD2AFDA5D89C}" presName="connTx" presStyleLbl="parChTrans1D2" presStyleIdx="0" presStyleCnt="6"/>
      <dgm:spPr/>
    </dgm:pt>
    <dgm:pt modelId="{68BB6312-97E9-4BEB-8E76-A6C4A4781C19}" type="pres">
      <dgm:prSet presAssocID="{3BECBD1D-0FB6-42B5-BF4C-0257F64BDE62}" presName="node" presStyleLbl="node1" presStyleIdx="0" presStyleCnt="6">
        <dgm:presLayoutVars>
          <dgm:bulletEnabled val="1"/>
        </dgm:presLayoutVars>
      </dgm:prSet>
      <dgm:spPr/>
    </dgm:pt>
    <dgm:pt modelId="{22382EF4-F490-4A29-9F80-AE8E3ABE0792}" type="pres">
      <dgm:prSet presAssocID="{37F0E33E-3441-4D06-B6A1-62F4EB14D24D}" presName="Name9" presStyleLbl="parChTrans1D2" presStyleIdx="1" presStyleCnt="6"/>
      <dgm:spPr/>
    </dgm:pt>
    <dgm:pt modelId="{90F9842C-C392-4488-81ED-E95407B1DF93}" type="pres">
      <dgm:prSet presAssocID="{37F0E33E-3441-4D06-B6A1-62F4EB14D24D}" presName="connTx" presStyleLbl="parChTrans1D2" presStyleIdx="1" presStyleCnt="6"/>
      <dgm:spPr/>
    </dgm:pt>
    <dgm:pt modelId="{D7AB624B-66F5-416D-AB0E-BA019C5B6CBD}" type="pres">
      <dgm:prSet presAssocID="{DA45F6E6-9922-429A-8814-F36225B44426}" presName="node" presStyleLbl="node1" presStyleIdx="1" presStyleCnt="6">
        <dgm:presLayoutVars>
          <dgm:bulletEnabled val="1"/>
        </dgm:presLayoutVars>
      </dgm:prSet>
      <dgm:spPr/>
    </dgm:pt>
    <dgm:pt modelId="{A24CD9B4-4974-4F41-A804-40311BEEF9D8}" type="pres">
      <dgm:prSet presAssocID="{6D33F3FC-0E10-4284-A597-77C5975B7BA4}" presName="Name9" presStyleLbl="parChTrans1D2" presStyleIdx="2" presStyleCnt="6"/>
      <dgm:spPr/>
    </dgm:pt>
    <dgm:pt modelId="{30A2B1E5-3F60-4D72-A45D-BE66009897D4}" type="pres">
      <dgm:prSet presAssocID="{6D33F3FC-0E10-4284-A597-77C5975B7BA4}" presName="connTx" presStyleLbl="parChTrans1D2" presStyleIdx="2" presStyleCnt="6"/>
      <dgm:spPr/>
    </dgm:pt>
    <dgm:pt modelId="{2BAE505D-FD5F-40C0-8499-935A83E43698}" type="pres">
      <dgm:prSet presAssocID="{3F052DB4-6AF7-4813-BACE-A2E704DBB37F}" presName="node" presStyleLbl="node1" presStyleIdx="2" presStyleCnt="6">
        <dgm:presLayoutVars>
          <dgm:bulletEnabled val="1"/>
        </dgm:presLayoutVars>
      </dgm:prSet>
      <dgm:spPr/>
    </dgm:pt>
    <dgm:pt modelId="{8D962AE1-F818-40DB-854C-707DDBE2B144}" type="pres">
      <dgm:prSet presAssocID="{E6E3FDDC-5659-4D7A-B738-5D1B0D749651}" presName="Name9" presStyleLbl="parChTrans1D2" presStyleIdx="3" presStyleCnt="6"/>
      <dgm:spPr/>
    </dgm:pt>
    <dgm:pt modelId="{9E9C92EB-FBB9-4603-9180-B278A19A409B}" type="pres">
      <dgm:prSet presAssocID="{E6E3FDDC-5659-4D7A-B738-5D1B0D749651}" presName="connTx" presStyleLbl="parChTrans1D2" presStyleIdx="3" presStyleCnt="6"/>
      <dgm:spPr/>
    </dgm:pt>
    <dgm:pt modelId="{AE3A0D20-A11D-4BB6-965C-DF4270D7F72A}" type="pres">
      <dgm:prSet presAssocID="{CF1D5E6A-4E50-4BE8-AD40-D29D0D8CBC73}" presName="node" presStyleLbl="node1" presStyleIdx="3" presStyleCnt="6">
        <dgm:presLayoutVars>
          <dgm:bulletEnabled val="1"/>
        </dgm:presLayoutVars>
      </dgm:prSet>
      <dgm:spPr/>
    </dgm:pt>
    <dgm:pt modelId="{45ADF3D5-4AF2-4817-99F2-2DDE7A10D5C5}" type="pres">
      <dgm:prSet presAssocID="{ADCEE885-0F84-47F8-894C-4CAC4CDB1E68}" presName="Name9" presStyleLbl="parChTrans1D2" presStyleIdx="4" presStyleCnt="6"/>
      <dgm:spPr/>
    </dgm:pt>
    <dgm:pt modelId="{477C2E0C-BC4E-4890-BE8C-3A0C6DF07910}" type="pres">
      <dgm:prSet presAssocID="{ADCEE885-0F84-47F8-894C-4CAC4CDB1E68}" presName="connTx" presStyleLbl="parChTrans1D2" presStyleIdx="4" presStyleCnt="6"/>
      <dgm:spPr/>
    </dgm:pt>
    <dgm:pt modelId="{37DCB91B-28EC-4CF3-8537-A91C4070485E}" type="pres">
      <dgm:prSet presAssocID="{5EB21259-E629-4C9D-8714-55E1EE19D5E5}" presName="node" presStyleLbl="node1" presStyleIdx="4" presStyleCnt="6">
        <dgm:presLayoutVars>
          <dgm:bulletEnabled val="1"/>
        </dgm:presLayoutVars>
      </dgm:prSet>
      <dgm:spPr/>
    </dgm:pt>
    <dgm:pt modelId="{7F3B3B52-6938-4E90-8DA4-BB41B34017C7}" type="pres">
      <dgm:prSet presAssocID="{8F40D44B-1B80-47DE-9399-F07D135DA0F4}" presName="Name9" presStyleLbl="parChTrans1D2" presStyleIdx="5" presStyleCnt="6"/>
      <dgm:spPr/>
    </dgm:pt>
    <dgm:pt modelId="{EB548CE5-CDEF-4D16-967D-60B642931612}" type="pres">
      <dgm:prSet presAssocID="{8F40D44B-1B80-47DE-9399-F07D135DA0F4}" presName="connTx" presStyleLbl="parChTrans1D2" presStyleIdx="5" presStyleCnt="6"/>
      <dgm:spPr/>
    </dgm:pt>
    <dgm:pt modelId="{ECE5C85E-EB8C-4CED-A254-18A1B76C6FD7}" type="pres">
      <dgm:prSet presAssocID="{BEAE320C-2E66-4D5B-8B47-B6EE3F782E5B}" presName="node" presStyleLbl="node1" presStyleIdx="5" presStyleCnt="6">
        <dgm:presLayoutVars>
          <dgm:bulletEnabled val="1"/>
        </dgm:presLayoutVars>
      </dgm:prSet>
      <dgm:spPr/>
    </dgm:pt>
  </dgm:ptLst>
  <dgm:cxnLst>
    <dgm:cxn modelId="{08161C00-9950-4E50-B79B-9674D4EEADB6}" type="presOf" srcId="{ADCEE885-0F84-47F8-894C-4CAC4CDB1E68}" destId="{477C2E0C-BC4E-4890-BE8C-3A0C6DF07910}" srcOrd="1" destOrd="0" presId="urn:microsoft.com/office/officeart/2005/8/layout/radial1"/>
    <dgm:cxn modelId="{4D39F709-845D-48DB-BCD6-DEE0544246AA}" srcId="{EDDC1DE3-705C-4F7C-9BB3-BBB6BB8DD2E1}" destId="{911B2E90-9CE4-40B2-B6CA-FE4CF82507E2}" srcOrd="0" destOrd="0" parTransId="{19C4FBC0-B5FE-4EA3-A6F2-5C2B34425AC5}" sibTransId="{5EFD91F4-1204-48CF-BFEB-6085F964AE6D}"/>
    <dgm:cxn modelId="{70BA3B0A-1C1E-491F-ADE3-748BD6406A19}" type="presOf" srcId="{3BECBD1D-0FB6-42B5-BF4C-0257F64BDE62}" destId="{68BB6312-97E9-4BEB-8E76-A6C4A4781C19}" srcOrd="0" destOrd="0" presId="urn:microsoft.com/office/officeart/2005/8/layout/radial1"/>
    <dgm:cxn modelId="{D9DFB722-6C72-4E22-8E4F-5F634EA2E89D}" type="presOf" srcId="{3F052DB4-6AF7-4813-BACE-A2E704DBB37F}" destId="{2BAE505D-FD5F-40C0-8499-935A83E43698}" srcOrd="0" destOrd="0" presId="urn:microsoft.com/office/officeart/2005/8/layout/radial1"/>
    <dgm:cxn modelId="{9EAA7A2E-C666-4E1D-8049-77613A5E67BA}" type="presOf" srcId="{BEAE320C-2E66-4D5B-8B47-B6EE3F782E5B}" destId="{ECE5C85E-EB8C-4CED-A254-18A1B76C6FD7}" srcOrd="0" destOrd="0" presId="urn:microsoft.com/office/officeart/2005/8/layout/radial1"/>
    <dgm:cxn modelId="{77E8A23F-2A60-481D-A738-D4BE27057C4B}" type="presOf" srcId="{911B2E90-9CE4-40B2-B6CA-FE4CF82507E2}" destId="{6B800BB7-A143-486C-A386-3C6B8C6965CE}" srcOrd="0" destOrd="0" presId="urn:microsoft.com/office/officeart/2005/8/layout/radial1"/>
    <dgm:cxn modelId="{E8CAA63F-EB17-462D-9CC6-F6D9D8AEA403}" type="presOf" srcId="{CF1D5E6A-4E50-4BE8-AD40-D29D0D8CBC73}" destId="{AE3A0D20-A11D-4BB6-965C-DF4270D7F72A}" srcOrd="0" destOrd="0" presId="urn:microsoft.com/office/officeart/2005/8/layout/radial1"/>
    <dgm:cxn modelId="{9E39065E-5D20-4D90-97BF-29EF1DC6733B}" srcId="{911B2E90-9CE4-40B2-B6CA-FE4CF82507E2}" destId="{3BECBD1D-0FB6-42B5-BF4C-0257F64BDE62}" srcOrd="0" destOrd="0" parTransId="{25560F1D-66E6-4ACF-A182-AD2AFDA5D89C}" sibTransId="{FE5FECE8-8D21-4C01-B23C-F328950C1D9E}"/>
    <dgm:cxn modelId="{FB602B74-0C19-4960-BE8F-E5A5DA4E683C}" srcId="{911B2E90-9CE4-40B2-B6CA-FE4CF82507E2}" destId="{CF1D5E6A-4E50-4BE8-AD40-D29D0D8CBC73}" srcOrd="3" destOrd="0" parTransId="{E6E3FDDC-5659-4D7A-B738-5D1B0D749651}" sibTransId="{1CF2E2ED-6FD1-4415-9EDB-7802178DAD39}"/>
    <dgm:cxn modelId="{C58C8078-5D31-468A-8A09-0BFBE2F481F5}" srcId="{911B2E90-9CE4-40B2-B6CA-FE4CF82507E2}" destId="{BEAE320C-2E66-4D5B-8B47-B6EE3F782E5B}" srcOrd="5" destOrd="0" parTransId="{8F40D44B-1B80-47DE-9399-F07D135DA0F4}" sibTransId="{EC7DF901-377B-45F9-8008-0B20046E0230}"/>
    <dgm:cxn modelId="{A876C67D-BC13-4699-81A5-421EE619AE0B}" type="presOf" srcId="{8F40D44B-1B80-47DE-9399-F07D135DA0F4}" destId="{EB548CE5-CDEF-4D16-967D-60B642931612}" srcOrd="1" destOrd="0" presId="urn:microsoft.com/office/officeart/2005/8/layout/radial1"/>
    <dgm:cxn modelId="{32316B7F-0AE2-406F-AD4F-92B1FDB9B23C}" type="presOf" srcId="{DA45F6E6-9922-429A-8814-F36225B44426}" destId="{D7AB624B-66F5-416D-AB0E-BA019C5B6CBD}" srcOrd="0" destOrd="0" presId="urn:microsoft.com/office/officeart/2005/8/layout/radial1"/>
    <dgm:cxn modelId="{9D267689-5DE9-4CE7-95B7-77BDD8A0B86B}" type="presOf" srcId="{6D33F3FC-0E10-4284-A597-77C5975B7BA4}" destId="{30A2B1E5-3F60-4D72-A45D-BE66009897D4}" srcOrd="1" destOrd="0" presId="urn:microsoft.com/office/officeart/2005/8/layout/radial1"/>
    <dgm:cxn modelId="{59AE1A94-A656-42BF-B762-924D369BD303}" type="presOf" srcId="{5EB21259-E629-4C9D-8714-55E1EE19D5E5}" destId="{37DCB91B-28EC-4CF3-8537-A91C4070485E}" srcOrd="0" destOrd="0" presId="urn:microsoft.com/office/officeart/2005/8/layout/radial1"/>
    <dgm:cxn modelId="{01238B99-96E4-4B91-952E-B50F51C2C495}" type="presOf" srcId="{EDDC1DE3-705C-4F7C-9BB3-BBB6BB8DD2E1}" destId="{5389E375-B0D4-47A3-B881-B5A524709D75}" srcOrd="0" destOrd="0" presId="urn:microsoft.com/office/officeart/2005/8/layout/radial1"/>
    <dgm:cxn modelId="{DEA5C89B-16CA-401F-803B-1CB22C520E0E}" srcId="{911B2E90-9CE4-40B2-B6CA-FE4CF82507E2}" destId="{5EB21259-E629-4C9D-8714-55E1EE19D5E5}" srcOrd="4" destOrd="0" parTransId="{ADCEE885-0F84-47F8-894C-4CAC4CDB1E68}" sibTransId="{96E6B873-3192-4566-9E75-DB5C9CAC03E6}"/>
    <dgm:cxn modelId="{CC4132A0-CEB5-4E49-A6CA-0BFB9419F8A8}" type="presOf" srcId="{E6E3FDDC-5659-4D7A-B738-5D1B0D749651}" destId="{9E9C92EB-FBB9-4603-9180-B278A19A409B}" srcOrd="1" destOrd="0" presId="urn:microsoft.com/office/officeart/2005/8/layout/radial1"/>
    <dgm:cxn modelId="{737B7EC0-209A-4133-8BC8-3F77B99B3306}" type="presOf" srcId="{6D33F3FC-0E10-4284-A597-77C5975B7BA4}" destId="{A24CD9B4-4974-4F41-A804-40311BEEF9D8}" srcOrd="0" destOrd="0" presId="urn:microsoft.com/office/officeart/2005/8/layout/radial1"/>
    <dgm:cxn modelId="{628A77C9-4A50-4D11-B6F3-1B5AEA68BFDD}" srcId="{911B2E90-9CE4-40B2-B6CA-FE4CF82507E2}" destId="{3F052DB4-6AF7-4813-BACE-A2E704DBB37F}" srcOrd="2" destOrd="0" parTransId="{6D33F3FC-0E10-4284-A597-77C5975B7BA4}" sibTransId="{91BE8363-81F0-4BE8-8E4A-B3F51ADC2DB3}"/>
    <dgm:cxn modelId="{1F78DAC9-D601-4A44-8A17-0BB1B35173CC}" srcId="{911B2E90-9CE4-40B2-B6CA-FE4CF82507E2}" destId="{DA45F6E6-9922-429A-8814-F36225B44426}" srcOrd="1" destOrd="0" parTransId="{37F0E33E-3441-4D06-B6A1-62F4EB14D24D}" sibTransId="{112EBB85-27C4-4A97-B46B-3A3D6E2B1B48}"/>
    <dgm:cxn modelId="{F898E5D6-892C-4B5F-9783-B26B75DE9ECF}" type="presOf" srcId="{E6E3FDDC-5659-4D7A-B738-5D1B0D749651}" destId="{8D962AE1-F818-40DB-854C-707DDBE2B144}" srcOrd="0" destOrd="0" presId="urn:microsoft.com/office/officeart/2005/8/layout/radial1"/>
    <dgm:cxn modelId="{F849C5D7-558D-47C8-B2FF-A7EE4642E751}" type="presOf" srcId="{8F40D44B-1B80-47DE-9399-F07D135DA0F4}" destId="{7F3B3B52-6938-4E90-8DA4-BB41B34017C7}" srcOrd="0" destOrd="0" presId="urn:microsoft.com/office/officeart/2005/8/layout/radial1"/>
    <dgm:cxn modelId="{C65A29DD-A338-4F8B-A216-DA6800EEBB4A}" type="presOf" srcId="{37F0E33E-3441-4D06-B6A1-62F4EB14D24D}" destId="{22382EF4-F490-4A29-9F80-AE8E3ABE0792}" srcOrd="0" destOrd="0" presId="urn:microsoft.com/office/officeart/2005/8/layout/radial1"/>
    <dgm:cxn modelId="{169844E4-EC35-4CE3-A915-B9CDE961B951}" type="presOf" srcId="{25560F1D-66E6-4ACF-A182-AD2AFDA5D89C}" destId="{7BD67683-2650-43D7-9907-166AEBF980EF}" srcOrd="1" destOrd="0" presId="urn:microsoft.com/office/officeart/2005/8/layout/radial1"/>
    <dgm:cxn modelId="{870F1BED-AFC6-4638-ABC3-40B8D03C66DF}" type="presOf" srcId="{37F0E33E-3441-4D06-B6A1-62F4EB14D24D}" destId="{90F9842C-C392-4488-81ED-E95407B1DF93}" srcOrd="1" destOrd="0" presId="urn:microsoft.com/office/officeart/2005/8/layout/radial1"/>
    <dgm:cxn modelId="{EBF560FC-969F-420C-A858-76BE6BBD3A01}" type="presOf" srcId="{ADCEE885-0F84-47F8-894C-4CAC4CDB1E68}" destId="{45ADF3D5-4AF2-4817-99F2-2DDE7A10D5C5}" srcOrd="0" destOrd="0" presId="urn:microsoft.com/office/officeart/2005/8/layout/radial1"/>
    <dgm:cxn modelId="{2411EEFD-FB9E-4107-93D5-2B4610495A44}" type="presOf" srcId="{25560F1D-66E6-4ACF-A182-AD2AFDA5D89C}" destId="{B01A79C7-6402-4243-BF17-F1E37FCDF7E5}" srcOrd="0" destOrd="0" presId="urn:microsoft.com/office/officeart/2005/8/layout/radial1"/>
    <dgm:cxn modelId="{09B01280-1643-4D00-B572-71801EDCE139}" type="presParOf" srcId="{5389E375-B0D4-47A3-B881-B5A524709D75}" destId="{6B800BB7-A143-486C-A386-3C6B8C6965CE}" srcOrd="0" destOrd="0" presId="urn:microsoft.com/office/officeart/2005/8/layout/radial1"/>
    <dgm:cxn modelId="{1380C390-AE97-4C74-9E85-9BEDB3BF7FAB}" type="presParOf" srcId="{5389E375-B0D4-47A3-B881-B5A524709D75}" destId="{B01A79C7-6402-4243-BF17-F1E37FCDF7E5}" srcOrd="1" destOrd="0" presId="urn:microsoft.com/office/officeart/2005/8/layout/radial1"/>
    <dgm:cxn modelId="{37F9129F-B011-470F-97F3-165A9AE4D4A2}" type="presParOf" srcId="{B01A79C7-6402-4243-BF17-F1E37FCDF7E5}" destId="{7BD67683-2650-43D7-9907-166AEBF980EF}" srcOrd="0" destOrd="0" presId="urn:microsoft.com/office/officeart/2005/8/layout/radial1"/>
    <dgm:cxn modelId="{55FC7E4C-F648-405D-A0FE-648249547CF6}" type="presParOf" srcId="{5389E375-B0D4-47A3-B881-B5A524709D75}" destId="{68BB6312-97E9-4BEB-8E76-A6C4A4781C19}" srcOrd="2" destOrd="0" presId="urn:microsoft.com/office/officeart/2005/8/layout/radial1"/>
    <dgm:cxn modelId="{81E4F858-D9A3-4295-BF3E-69DD3FE7001F}" type="presParOf" srcId="{5389E375-B0D4-47A3-B881-B5A524709D75}" destId="{22382EF4-F490-4A29-9F80-AE8E3ABE0792}" srcOrd="3" destOrd="0" presId="urn:microsoft.com/office/officeart/2005/8/layout/radial1"/>
    <dgm:cxn modelId="{1E115E2D-E906-4854-B455-6E6D5977D03F}" type="presParOf" srcId="{22382EF4-F490-4A29-9F80-AE8E3ABE0792}" destId="{90F9842C-C392-4488-81ED-E95407B1DF93}" srcOrd="0" destOrd="0" presId="urn:microsoft.com/office/officeart/2005/8/layout/radial1"/>
    <dgm:cxn modelId="{F5A74335-3B48-44FD-9D85-DB44D21592B4}" type="presParOf" srcId="{5389E375-B0D4-47A3-B881-B5A524709D75}" destId="{D7AB624B-66F5-416D-AB0E-BA019C5B6CBD}" srcOrd="4" destOrd="0" presId="urn:microsoft.com/office/officeart/2005/8/layout/radial1"/>
    <dgm:cxn modelId="{B5F37CEC-1285-44AE-BBF1-EFED3B442BEC}" type="presParOf" srcId="{5389E375-B0D4-47A3-B881-B5A524709D75}" destId="{A24CD9B4-4974-4F41-A804-40311BEEF9D8}" srcOrd="5" destOrd="0" presId="urn:microsoft.com/office/officeart/2005/8/layout/radial1"/>
    <dgm:cxn modelId="{DA609D6F-2C11-404D-9DD7-6359F941F851}" type="presParOf" srcId="{A24CD9B4-4974-4F41-A804-40311BEEF9D8}" destId="{30A2B1E5-3F60-4D72-A45D-BE66009897D4}" srcOrd="0" destOrd="0" presId="urn:microsoft.com/office/officeart/2005/8/layout/radial1"/>
    <dgm:cxn modelId="{15316CC9-8C98-4977-914A-BA39A6B2F6F9}" type="presParOf" srcId="{5389E375-B0D4-47A3-B881-B5A524709D75}" destId="{2BAE505D-FD5F-40C0-8499-935A83E43698}" srcOrd="6" destOrd="0" presId="urn:microsoft.com/office/officeart/2005/8/layout/radial1"/>
    <dgm:cxn modelId="{A36325D7-82E3-43C4-BCBB-12975A3BB0D4}" type="presParOf" srcId="{5389E375-B0D4-47A3-B881-B5A524709D75}" destId="{8D962AE1-F818-40DB-854C-707DDBE2B144}" srcOrd="7" destOrd="0" presId="urn:microsoft.com/office/officeart/2005/8/layout/radial1"/>
    <dgm:cxn modelId="{1EC866F0-B950-4455-9DAA-DB6621941EDD}" type="presParOf" srcId="{8D962AE1-F818-40DB-854C-707DDBE2B144}" destId="{9E9C92EB-FBB9-4603-9180-B278A19A409B}" srcOrd="0" destOrd="0" presId="urn:microsoft.com/office/officeart/2005/8/layout/radial1"/>
    <dgm:cxn modelId="{B53ED5AC-4E16-43C0-B889-14127EE1ECC8}" type="presParOf" srcId="{5389E375-B0D4-47A3-B881-B5A524709D75}" destId="{AE3A0D20-A11D-4BB6-965C-DF4270D7F72A}" srcOrd="8" destOrd="0" presId="urn:microsoft.com/office/officeart/2005/8/layout/radial1"/>
    <dgm:cxn modelId="{48059B84-CB64-483B-92DF-D6B9A2CD04C3}" type="presParOf" srcId="{5389E375-B0D4-47A3-B881-B5A524709D75}" destId="{45ADF3D5-4AF2-4817-99F2-2DDE7A10D5C5}" srcOrd="9" destOrd="0" presId="urn:microsoft.com/office/officeart/2005/8/layout/radial1"/>
    <dgm:cxn modelId="{6EC84106-83A4-4C0C-809E-698E2DAEAC6B}" type="presParOf" srcId="{45ADF3D5-4AF2-4817-99F2-2DDE7A10D5C5}" destId="{477C2E0C-BC4E-4890-BE8C-3A0C6DF07910}" srcOrd="0" destOrd="0" presId="urn:microsoft.com/office/officeart/2005/8/layout/radial1"/>
    <dgm:cxn modelId="{6F559AF1-1297-401B-9F3D-D74186C916C6}" type="presParOf" srcId="{5389E375-B0D4-47A3-B881-B5A524709D75}" destId="{37DCB91B-28EC-4CF3-8537-A91C4070485E}" srcOrd="10" destOrd="0" presId="urn:microsoft.com/office/officeart/2005/8/layout/radial1"/>
    <dgm:cxn modelId="{851BC161-1F13-4F46-B29B-DFFFE3B2D73A}" type="presParOf" srcId="{5389E375-B0D4-47A3-B881-B5A524709D75}" destId="{7F3B3B52-6938-4E90-8DA4-BB41B34017C7}" srcOrd="11" destOrd="0" presId="urn:microsoft.com/office/officeart/2005/8/layout/radial1"/>
    <dgm:cxn modelId="{DB4DB7E2-1349-424A-96CD-72F6C8DF9F02}" type="presParOf" srcId="{7F3B3B52-6938-4E90-8DA4-BB41B34017C7}" destId="{EB548CE5-CDEF-4D16-967D-60B642931612}" srcOrd="0" destOrd="0" presId="urn:microsoft.com/office/officeart/2005/8/layout/radial1"/>
    <dgm:cxn modelId="{3AECC7C2-EA1D-47E7-90A4-065CA02464E9}" type="presParOf" srcId="{5389E375-B0D4-47A3-B881-B5A524709D75}" destId="{ECE5C85E-EB8C-4CED-A254-18A1B76C6FD7}" srcOrd="12" destOrd="0" presId="urn:microsoft.com/office/officeart/2005/8/layout/radial1"/>
  </dgm:cxnLst>
  <dgm:bg>
    <a:noFill/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4363960-CBD0-44A8-AE09-45DA7517DE40}" type="doc">
      <dgm:prSet loTypeId="urn:microsoft.com/office/officeart/2005/8/layout/matrix1" loCatId="matrix" qsTypeId="urn:microsoft.com/office/officeart/2005/8/quickstyle/3d7" qsCatId="3D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C08660C-FB28-4D3D-AB59-E2DF8D76B87F}">
      <dgm:prSet phldrT="[Text]"/>
      <dgm:spPr/>
      <dgm:t>
        <a:bodyPr/>
        <a:lstStyle/>
        <a:p>
          <a:r>
            <a:rPr lang="en-IN" b="1" dirty="0"/>
            <a:t>Artifacts</a:t>
          </a:r>
        </a:p>
      </dgm:t>
    </dgm:pt>
    <dgm:pt modelId="{EC0A9439-A64B-42F5-BD06-B2B1CC1D2AFE}" type="parTrans" cxnId="{2637299C-B981-4F20-AFDB-EC4867C88EE5}">
      <dgm:prSet/>
      <dgm:spPr/>
      <dgm:t>
        <a:bodyPr/>
        <a:lstStyle/>
        <a:p>
          <a:endParaRPr lang="en-IN"/>
        </a:p>
      </dgm:t>
    </dgm:pt>
    <dgm:pt modelId="{9FF64C03-18A7-4E03-99C4-AF0DCEE8B01E}" type="sibTrans" cxnId="{2637299C-B981-4F20-AFDB-EC4867C88EE5}">
      <dgm:prSet/>
      <dgm:spPr/>
      <dgm:t>
        <a:bodyPr/>
        <a:lstStyle/>
        <a:p>
          <a:endParaRPr lang="en-IN"/>
        </a:p>
      </dgm:t>
    </dgm:pt>
    <dgm:pt modelId="{9F534A0D-1A26-46F5-A00C-8E825EEA1B1D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Integration Flow</a:t>
          </a:r>
        </a:p>
      </dgm:t>
    </dgm:pt>
    <dgm:pt modelId="{C107A992-5AD7-4460-BC33-AD71054BD2DF}" type="parTrans" cxnId="{AF8E4144-5F9C-4E29-931C-897E3444041F}">
      <dgm:prSet/>
      <dgm:spPr/>
      <dgm:t>
        <a:bodyPr/>
        <a:lstStyle/>
        <a:p>
          <a:endParaRPr lang="en-IN"/>
        </a:p>
      </dgm:t>
    </dgm:pt>
    <dgm:pt modelId="{92C0AF32-202B-47F6-BEDA-EDF97AA55E41}" type="sibTrans" cxnId="{AF8E4144-5F9C-4E29-931C-897E3444041F}">
      <dgm:prSet/>
      <dgm:spPr/>
      <dgm:t>
        <a:bodyPr/>
        <a:lstStyle/>
        <a:p>
          <a:endParaRPr lang="en-IN"/>
        </a:p>
      </dgm:t>
    </dgm:pt>
    <dgm:pt modelId="{609D7614-0A8E-4921-9B4B-32A9DFEB8ED8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OData Service</a:t>
          </a:r>
        </a:p>
      </dgm:t>
    </dgm:pt>
    <dgm:pt modelId="{C746F232-871B-4FEE-9007-FA9166B13058}" type="parTrans" cxnId="{548103D4-403E-4551-884F-DFF21690C557}">
      <dgm:prSet/>
      <dgm:spPr/>
      <dgm:t>
        <a:bodyPr/>
        <a:lstStyle/>
        <a:p>
          <a:endParaRPr lang="en-IN"/>
        </a:p>
      </dgm:t>
    </dgm:pt>
    <dgm:pt modelId="{6ED7C0A6-F634-40F3-AA86-621C1497CD04}" type="sibTrans" cxnId="{548103D4-403E-4551-884F-DFF21690C557}">
      <dgm:prSet/>
      <dgm:spPr/>
      <dgm:t>
        <a:bodyPr/>
        <a:lstStyle/>
        <a:p>
          <a:endParaRPr lang="en-IN"/>
        </a:p>
      </dgm:t>
    </dgm:pt>
    <dgm:pt modelId="{4FEC67C1-3C8F-4E7E-A05C-E92AAE35FA34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Value Mapping</a:t>
          </a:r>
        </a:p>
      </dgm:t>
    </dgm:pt>
    <dgm:pt modelId="{3AC5D501-4152-4919-8FAC-C38942DDEC5E}" type="parTrans" cxnId="{F041D7D9-72C3-4A14-872D-33C9E8433AF4}">
      <dgm:prSet/>
      <dgm:spPr/>
      <dgm:t>
        <a:bodyPr/>
        <a:lstStyle/>
        <a:p>
          <a:endParaRPr lang="en-IN"/>
        </a:p>
      </dgm:t>
    </dgm:pt>
    <dgm:pt modelId="{043B085B-F6C9-4F39-8F7C-40F773DEC44A}" type="sibTrans" cxnId="{F041D7D9-72C3-4A14-872D-33C9E8433AF4}">
      <dgm:prSet/>
      <dgm:spPr/>
      <dgm:t>
        <a:bodyPr/>
        <a:lstStyle/>
        <a:p>
          <a:endParaRPr lang="en-IN"/>
        </a:p>
      </dgm:t>
    </dgm:pt>
    <dgm:pt modelId="{05B0CD59-C51B-4E32-AAD1-005249BD24E1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Data Integration</a:t>
          </a:r>
        </a:p>
      </dgm:t>
    </dgm:pt>
    <dgm:pt modelId="{81C48787-AE58-4288-A9BD-CB55DEE5316E}" type="parTrans" cxnId="{E30B19D5-D855-4653-9877-CC3B07A50F2A}">
      <dgm:prSet/>
      <dgm:spPr/>
      <dgm:t>
        <a:bodyPr/>
        <a:lstStyle/>
        <a:p>
          <a:endParaRPr lang="en-IN"/>
        </a:p>
      </dgm:t>
    </dgm:pt>
    <dgm:pt modelId="{6019FCDC-9622-441A-97E8-095D0FC8440D}" type="sibTrans" cxnId="{E30B19D5-D855-4653-9877-CC3B07A50F2A}">
      <dgm:prSet/>
      <dgm:spPr/>
      <dgm:t>
        <a:bodyPr/>
        <a:lstStyle/>
        <a:p>
          <a:endParaRPr lang="en-IN"/>
        </a:p>
      </dgm:t>
    </dgm:pt>
    <dgm:pt modelId="{4683F769-0AF5-4890-8AE0-DA882D43917E}" type="pres">
      <dgm:prSet presAssocID="{24363960-CBD0-44A8-AE09-45DA7517DE40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8716A08-E8A1-469A-B821-CB08E095C036}" type="pres">
      <dgm:prSet presAssocID="{24363960-CBD0-44A8-AE09-45DA7517DE40}" presName="matrix" presStyleCnt="0"/>
      <dgm:spPr/>
    </dgm:pt>
    <dgm:pt modelId="{260B055C-AF8F-4CEC-915F-1DFC624E0F3A}" type="pres">
      <dgm:prSet presAssocID="{24363960-CBD0-44A8-AE09-45DA7517DE40}" presName="tile1" presStyleLbl="node1" presStyleIdx="0" presStyleCnt="4" custLinFactNeighborX="-104" custLinFactNeighborY="-9639"/>
      <dgm:spPr/>
    </dgm:pt>
    <dgm:pt modelId="{F7EBF9B3-CA9B-47C8-A6BD-BA0668763AA6}" type="pres">
      <dgm:prSet presAssocID="{24363960-CBD0-44A8-AE09-45DA7517DE40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7AAEABB-C439-4FBE-8DE2-7998B3B7148A}" type="pres">
      <dgm:prSet presAssocID="{24363960-CBD0-44A8-AE09-45DA7517DE40}" presName="tile2" presStyleLbl="node1" presStyleIdx="1" presStyleCnt="4"/>
      <dgm:spPr/>
    </dgm:pt>
    <dgm:pt modelId="{9397AB43-3045-4A46-A9C4-67B446C57C8A}" type="pres">
      <dgm:prSet presAssocID="{24363960-CBD0-44A8-AE09-45DA7517DE40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90E27CC4-17BA-4285-AFD0-A5B98D3F4EF7}" type="pres">
      <dgm:prSet presAssocID="{24363960-CBD0-44A8-AE09-45DA7517DE40}" presName="tile3" presStyleLbl="node1" presStyleIdx="2" presStyleCnt="4"/>
      <dgm:spPr/>
    </dgm:pt>
    <dgm:pt modelId="{39BE272B-FC02-4B5B-B53D-FF11378690D4}" type="pres">
      <dgm:prSet presAssocID="{24363960-CBD0-44A8-AE09-45DA7517DE40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5DBF0AB-9556-41CD-90FC-50784E84D5AD}" type="pres">
      <dgm:prSet presAssocID="{24363960-CBD0-44A8-AE09-45DA7517DE40}" presName="tile4" presStyleLbl="node1" presStyleIdx="3" presStyleCnt="4"/>
      <dgm:spPr/>
    </dgm:pt>
    <dgm:pt modelId="{5A795305-CF05-4C1E-BD47-8D6A254FA8EF}" type="pres">
      <dgm:prSet presAssocID="{24363960-CBD0-44A8-AE09-45DA7517DE40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4DF061A3-83A3-4F59-9A35-2A96F9B5EBC4}" type="pres">
      <dgm:prSet presAssocID="{24363960-CBD0-44A8-AE09-45DA7517DE40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9A347C0A-7773-4E9C-BD21-4D3D93E0F9B3}" type="presOf" srcId="{609D7614-0A8E-4921-9B4B-32A9DFEB8ED8}" destId="{9397AB43-3045-4A46-A9C4-67B446C57C8A}" srcOrd="1" destOrd="0" presId="urn:microsoft.com/office/officeart/2005/8/layout/matrix1"/>
    <dgm:cxn modelId="{71F84D2F-6FB6-47A2-9356-4C67724BE7A7}" type="presOf" srcId="{4FEC67C1-3C8F-4E7E-A05C-E92AAE35FA34}" destId="{39BE272B-FC02-4B5B-B53D-FF11378690D4}" srcOrd="1" destOrd="0" presId="urn:microsoft.com/office/officeart/2005/8/layout/matrix1"/>
    <dgm:cxn modelId="{CF196E3D-A70F-4050-810F-8132BF63EF66}" type="presOf" srcId="{4FEC67C1-3C8F-4E7E-A05C-E92AAE35FA34}" destId="{90E27CC4-17BA-4285-AFD0-A5B98D3F4EF7}" srcOrd="0" destOrd="0" presId="urn:microsoft.com/office/officeart/2005/8/layout/matrix1"/>
    <dgm:cxn modelId="{4A715C43-89A1-4D9A-9F2A-8841A254EA13}" type="presOf" srcId="{05B0CD59-C51B-4E32-AAD1-005249BD24E1}" destId="{B5DBF0AB-9556-41CD-90FC-50784E84D5AD}" srcOrd="0" destOrd="0" presId="urn:microsoft.com/office/officeart/2005/8/layout/matrix1"/>
    <dgm:cxn modelId="{AF8E4144-5F9C-4E29-931C-897E3444041F}" srcId="{4C08660C-FB28-4D3D-AB59-E2DF8D76B87F}" destId="{9F534A0D-1A26-46F5-A00C-8E825EEA1B1D}" srcOrd="0" destOrd="0" parTransId="{C107A992-5AD7-4460-BC33-AD71054BD2DF}" sibTransId="{92C0AF32-202B-47F6-BEDA-EDF97AA55E41}"/>
    <dgm:cxn modelId="{BBAAF088-F0F7-4634-BE88-BCC4173E2C7D}" type="presOf" srcId="{05B0CD59-C51B-4E32-AAD1-005249BD24E1}" destId="{5A795305-CF05-4C1E-BD47-8D6A254FA8EF}" srcOrd="1" destOrd="0" presId="urn:microsoft.com/office/officeart/2005/8/layout/matrix1"/>
    <dgm:cxn modelId="{950B8194-5453-461A-9191-E493283490CB}" type="presOf" srcId="{9F534A0D-1A26-46F5-A00C-8E825EEA1B1D}" destId="{260B055C-AF8F-4CEC-915F-1DFC624E0F3A}" srcOrd="0" destOrd="0" presId="urn:microsoft.com/office/officeart/2005/8/layout/matrix1"/>
    <dgm:cxn modelId="{9B902398-C338-4081-AB7C-1CD74817FFC4}" type="presOf" srcId="{4C08660C-FB28-4D3D-AB59-E2DF8D76B87F}" destId="{4DF061A3-83A3-4F59-9A35-2A96F9B5EBC4}" srcOrd="0" destOrd="0" presId="urn:microsoft.com/office/officeart/2005/8/layout/matrix1"/>
    <dgm:cxn modelId="{2637299C-B981-4F20-AFDB-EC4867C88EE5}" srcId="{24363960-CBD0-44A8-AE09-45DA7517DE40}" destId="{4C08660C-FB28-4D3D-AB59-E2DF8D76B87F}" srcOrd="0" destOrd="0" parTransId="{EC0A9439-A64B-42F5-BD06-B2B1CC1D2AFE}" sibTransId="{9FF64C03-18A7-4E03-99C4-AF0DCEE8B01E}"/>
    <dgm:cxn modelId="{1FE223A1-AE4C-4CB4-8BC0-08E644FFE216}" type="presOf" srcId="{9F534A0D-1A26-46F5-A00C-8E825EEA1B1D}" destId="{F7EBF9B3-CA9B-47C8-A6BD-BA0668763AA6}" srcOrd="1" destOrd="0" presId="urn:microsoft.com/office/officeart/2005/8/layout/matrix1"/>
    <dgm:cxn modelId="{33E587BB-D401-4B56-8866-F1C58AB804EC}" type="presOf" srcId="{609D7614-0A8E-4921-9B4B-32A9DFEB8ED8}" destId="{77AAEABB-C439-4FBE-8DE2-7998B3B7148A}" srcOrd="0" destOrd="0" presId="urn:microsoft.com/office/officeart/2005/8/layout/matrix1"/>
    <dgm:cxn modelId="{548103D4-403E-4551-884F-DFF21690C557}" srcId="{4C08660C-FB28-4D3D-AB59-E2DF8D76B87F}" destId="{609D7614-0A8E-4921-9B4B-32A9DFEB8ED8}" srcOrd="1" destOrd="0" parTransId="{C746F232-871B-4FEE-9007-FA9166B13058}" sibTransId="{6ED7C0A6-F634-40F3-AA86-621C1497CD04}"/>
    <dgm:cxn modelId="{E30B19D5-D855-4653-9877-CC3B07A50F2A}" srcId="{4C08660C-FB28-4D3D-AB59-E2DF8D76B87F}" destId="{05B0CD59-C51B-4E32-AAD1-005249BD24E1}" srcOrd="3" destOrd="0" parTransId="{81C48787-AE58-4288-A9BD-CB55DEE5316E}" sibTransId="{6019FCDC-9622-441A-97E8-095D0FC8440D}"/>
    <dgm:cxn modelId="{F041D7D9-72C3-4A14-872D-33C9E8433AF4}" srcId="{4C08660C-FB28-4D3D-AB59-E2DF8D76B87F}" destId="{4FEC67C1-3C8F-4E7E-A05C-E92AAE35FA34}" srcOrd="2" destOrd="0" parTransId="{3AC5D501-4152-4919-8FAC-C38942DDEC5E}" sibTransId="{043B085B-F6C9-4F39-8F7C-40F773DEC44A}"/>
    <dgm:cxn modelId="{B311B8EA-F903-4AC2-88DB-C4531A11EA58}" type="presOf" srcId="{24363960-CBD0-44A8-AE09-45DA7517DE40}" destId="{4683F769-0AF5-4890-8AE0-DA882D43917E}" srcOrd="0" destOrd="0" presId="urn:microsoft.com/office/officeart/2005/8/layout/matrix1"/>
    <dgm:cxn modelId="{68A83F59-B378-4DDF-B20D-EA48591D141D}" type="presParOf" srcId="{4683F769-0AF5-4890-8AE0-DA882D43917E}" destId="{58716A08-E8A1-469A-B821-CB08E095C036}" srcOrd="0" destOrd="0" presId="urn:microsoft.com/office/officeart/2005/8/layout/matrix1"/>
    <dgm:cxn modelId="{B29B1CDC-56BA-4420-9268-4BD0EEC6C95A}" type="presParOf" srcId="{58716A08-E8A1-469A-B821-CB08E095C036}" destId="{260B055C-AF8F-4CEC-915F-1DFC624E0F3A}" srcOrd="0" destOrd="0" presId="urn:microsoft.com/office/officeart/2005/8/layout/matrix1"/>
    <dgm:cxn modelId="{0079EDCE-069A-47C9-AA4A-EEE0E107FAF5}" type="presParOf" srcId="{58716A08-E8A1-469A-B821-CB08E095C036}" destId="{F7EBF9B3-CA9B-47C8-A6BD-BA0668763AA6}" srcOrd="1" destOrd="0" presId="urn:microsoft.com/office/officeart/2005/8/layout/matrix1"/>
    <dgm:cxn modelId="{002369B0-8AFA-4008-B371-DCF5F03DAD61}" type="presParOf" srcId="{58716A08-E8A1-469A-B821-CB08E095C036}" destId="{77AAEABB-C439-4FBE-8DE2-7998B3B7148A}" srcOrd="2" destOrd="0" presId="urn:microsoft.com/office/officeart/2005/8/layout/matrix1"/>
    <dgm:cxn modelId="{7F0C8E5B-A3BF-4850-B4CF-BEE6531ABEE8}" type="presParOf" srcId="{58716A08-E8A1-469A-B821-CB08E095C036}" destId="{9397AB43-3045-4A46-A9C4-67B446C57C8A}" srcOrd="3" destOrd="0" presId="urn:microsoft.com/office/officeart/2005/8/layout/matrix1"/>
    <dgm:cxn modelId="{AD7B19D2-C62F-4CA2-820F-D1C24B59131E}" type="presParOf" srcId="{58716A08-E8A1-469A-B821-CB08E095C036}" destId="{90E27CC4-17BA-4285-AFD0-A5B98D3F4EF7}" srcOrd="4" destOrd="0" presId="urn:microsoft.com/office/officeart/2005/8/layout/matrix1"/>
    <dgm:cxn modelId="{05E7E4EA-318A-43F1-A34D-FB0E8F98A54F}" type="presParOf" srcId="{58716A08-E8A1-469A-B821-CB08E095C036}" destId="{39BE272B-FC02-4B5B-B53D-FF11378690D4}" srcOrd="5" destOrd="0" presId="urn:microsoft.com/office/officeart/2005/8/layout/matrix1"/>
    <dgm:cxn modelId="{42EED5D8-3B7F-4209-AE3C-37E6AFE98712}" type="presParOf" srcId="{58716A08-E8A1-469A-B821-CB08E095C036}" destId="{B5DBF0AB-9556-41CD-90FC-50784E84D5AD}" srcOrd="6" destOrd="0" presId="urn:microsoft.com/office/officeart/2005/8/layout/matrix1"/>
    <dgm:cxn modelId="{9750F768-6251-4D00-91F9-C1E018834E2B}" type="presParOf" srcId="{58716A08-E8A1-469A-B821-CB08E095C036}" destId="{5A795305-CF05-4C1E-BD47-8D6A254FA8EF}" srcOrd="7" destOrd="0" presId="urn:microsoft.com/office/officeart/2005/8/layout/matrix1"/>
    <dgm:cxn modelId="{5E88F5F2-A5A4-4914-9B28-733670A9D53F}" type="presParOf" srcId="{4683F769-0AF5-4890-8AE0-DA882D43917E}" destId="{4DF061A3-83A3-4F59-9A35-2A96F9B5EBC4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19C9A07-7EE2-4398-8534-D6C011C1DE98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7DE6927-ADC1-496B-A688-32439957B399}">
      <dgm:prSet phldrT="[Text]"/>
      <dgm:spPr/>
      <dgm:t>
        <a:bodyPr/>
        <a:lstStyle/>
        <a:p>
          <a:pPr algn="ctr"/>
          <a:r>
            <a:rPr lang="en-IN" b="1" dirty="0"/>
            <a:t>Monitor Message Processing</a:t>
          </a:r>
        </a:p>
      </dgm:t>
    </dgm:pt>
    <dgm:pt modelId="{B961232E-B037-4937-AE52-E8BAF0A826C7}" type="parTrans" cxnId="{A2E399BF-F014-4A4D-A07F-BCFB104745CB}">
      <dgm:prSet/>
      <dgm:spPr/>
      <dgm:t>
        <a:bodyPr/>
        <a:lstStyle/>
        <a:p>
          <a:endParaRPr lang="en-IN"/>
        </a:p>
      </dgm:t>
    </dgm:pt>
    <dgm:pt modelId="{A781B494-B816-44B6-85E7-27AF8100EC0C}" type="sibTrans" cxnId="{A2E399BF-F014-4A4D-A07F-BCFB104745CB}">
      <dgm:prSet/>
      <dgm:spPr/>
      <dgm:t>
        <a:bodyPr/>
        <a:lstStyle/>
        <a:p>
          <a:endParaRPr lang="en-IN"/>
        </a:p>
      </dgm:t>
    </dgm:pt>
    <dgm:pt modelId="{48A2B884-77D1-4B2B-AD80-240814D7B99B}">
      <dgm:prSet phldrT="[Text]"/>
      <dgm:spPr/>
      <dgm:t>
        <a:bodyPr/>
        <a:lstStyle/>
        <a:p>
          <a:r>
            <a:rPr lang="en-IN" dirty="0"/>
            <a:t>Monitor message processing on the tenant within time frame</a:t>
          </a:r>
        </a:p>
      </dgm:t>
    </dgm:pt>
    <dgm:pt modelId="{504A4A3D-675F-4D14-B886-53F516BC90A1}" type="parTrans" cxnId="{D9AAC2F3-B861-41A7-A476-409068D6A57B}">
      <dgm:prSet/>
      <dgm:spPr/>
      <dgm:t>
        <a:bodyPr/>
        <a:lstStyle/>
        <a:p>
          <a:endParaRPr lang="en-IN"/>
        </a:p>
      </dgm:t>
    </dgm:pt>
    <dgm:pt modelId="{8B535E7E-CCD5-49DF-85B7-C9015BE679A2}" type="sibTrans" cxnId="{D9AAC2F3-B861-41A7-A476-409068D6A57B}">
      <dgm:prSet/>
      <dgm:spPr/>
      <dgm:t>
        <a:bodyPr/>
        <a:lstStyle/>
        <a:p>
          <a:endParaRPr lang="en-IN"/>
        </a:p>
      </dgm:t>
    </dgm:pt>
    <dgm:pt modelId="{F76102B6-EE36-4F5D-9A25-4E3EA0BB57C1}">
      <dgm:prSet phldrT="[Text]"/>
      <dgm:spPr/>
      <dgm:t>
        <a:bodyPr/>
        <a:lstStyle/>
        <a:p>
          <a:r>
            <a:rPr lang="en-IN" b="1" dirty="0"/>
            <a:t>Manage Integration Content</a:t>
          </a:r>
        </a:p>
      </dgm:t>
    </dgm:pt>
    <dgm:pt modelId="{E68218BB-9E42-40ED-8FA1-B68C9527E161}" type="parTrans" cxnId="{DF5A902C-8CE3-44C6-B2EC-C111A2066268}">
      <dgm:prSet/>
      <dgm:spPr/>
      <dgm:t>
        <a:bodyPr/>
        <a:lstStyle/>
        <a:p>
          <a:endParaRPr lang="en-IN"/>
        </a:p>
      </dgm:t>
    </dgm:pt>
    <dgm:pt modelId="{97827ACC-2BBC-4E11-A30B-4E2CF223DDCD}" type="sibTrans" cxnId="{DF5A902C-8CE3-44C6-B2EC-C111A2066268}">
      <dgm:prSet/>
      <dgm:spPr/>
      <dgm:t>
        <a:bodyPr/>
        <a:lstStyle/>
        <a:p>
          <a:endParaRPr lang="en-IN"/>
        </a:p>
      </dgm:t>
    </dgm:pt>
    <dgm:pt modelId="{101CEEDE-AECA-4E7E-BE78-522AFEB670C0}">
      <dgm:prSet phldrT="[Text]"/>
      <dgm:spPr>
        <a:solidFill>
          <a:schemeClr val="accent1">
            <a:tint val="40000"/>
            <a:hueOff val="0"/>
            <a:satOff val="0"/>
            <a:lumOff val="0"/>
          </a:schemeClr>
        </a:solidFill>
      </dgm:spPr>
      <dgm:t>
        <a:bodyPr/>
        <a:lstStyle/>
        <a:p>
          <a:r>
            <a:rPr lang="en-IN" dirty="0"/>
            <a:t>Manage integration content for the tenant</a:t>
          </a:r>
        </a:p>
      </dgm:t>
    </dgm:pt>
    <dgm:pt modelId="{14D99D82-7941-4EED-B23B-319C343900EE}" type="parTrans" cxnId="{ADA20296-6572-4E3F-A428-C5DE53750372}">
      <dgm:prSet/>
      <dgm:spPr/>
      <dgm:t>
        <a:bodyPr/>
        <a:lstStyle/>
        <a:p>
          <a:endParaRPr lang="en-IN"/>
        </a:p>
      </dgm:t>
    </dgm:pt>
    <dgm:pt modelId="{148D40E1-BBED-485D-841B-54CB26ADBC6A}" type="sibTrans" cxnId="{ADA20296-6572-4E3F-A428-C5DE53750372}">
      <dgm:prSet/>
      <dgm:spPr/>
      <dgm:t>
        <a:bodyPr/>
        <a:lstStyle/>
        <a:p>
          <a:endParaRPr lang="en-IN"/>
        </a:p>
      </dgm:t>
    </dgm:pt>
    <dgm:pt modelId="{40328F08-427C-4DAE-A697-E87B645D8C5C}">
      <dgm:prSet phldrT="[Text]"/>
      <dgm:spPr/>
      <dgm:t>
        <a:bodyPr/>
        <a:lstStyle/>
        <a:p>
          <a:r>
            <a:rPr lang="en-IN" b="1" dirty="0"/>
            <a:t>Manage Security</a:t>
          </a:r>
        </a:p>
      </dgm:t>
    </dgm:pt>
    <dgm:pt modelId="{1219F93E-3E2C-44E0-A1F2-9F06596B3725}" type="parTrans" cxnId="{5BAA3F72-AC98-450A-BD6D-9514D3FDD880}">
      <dgm:prSet/>
      <dgm:spPr/>
      <dgm:t>
        <a:bodyPr/>
        <a:lstStyle/>
        <a:p>
          <a:endParaRPr lang="en-IN"/>
        </a:p>
      </dgm:t>
    </dgm:pt>
    <dgm:pt modelId="{E88750EC-A334-4C89-8D66-670D651BA711}" type="sibTrans" cxnId="{5BAA3F72-AC98-450A-BD6D-9514D3FDD880}">
      <dgm:prSet/>
      <dgm:spPr/>
      <dgm:t>
        <a:bodyPr/>
        <a:lstStyle/>
        <a:p>
          <a:endParaRPr lang="en-IN"/>
        </a:p>
      </dgm:t>
    </dgm:pt>
    <dgm:pt modelId="{157FFF3A-EA0C-45FE-874F-EF07E36D3AC0}">
      <dgm:prSet phldrT="[Text]" custT="1"/>
      <dgm:spPr/>
      <dgm:t>
        <a:bodyPr/>
        <a:lstStyle/>
        <a:p>
          <a:r>
            <a:rPr lang="en-IN" sz="1500" dirty="0"/>
            <a:t>Allows us to manage certain tasks related to the setup of secure connections between tenant and remote systems.</a:t>
          </a:r>
        </a:p>
      </dgm:t>
    </dgm:pt>
    <dgm:pt modelId="{8202E2A6-E431-468E-857D-54D9A558B355}" type="parTrans" cxnId="{0C2FF038-DBFE-4200-A217-F75375C63E23}">
      <dgm:prSet/>
      <dgm:spPr/>
      <dgm:t>
        <a:bodyPr/>
        <a:lstStyle/>
        <a:p>
          <a:endParaRPr lang="en-IN"/>
        </a:p>
      </dgm:t>
    </dgm:pt>
    <dgm:pt modelId="{AC1BD2D3-DCEE-4C5D-8942-B93F7E2538C6}" type="sibTrans" cxnId="{0C2FF038-DBFE-4200-A217-F75375C63E23}">
      <dgm:prSet/>
      <dgm:spPr/>
      <dgm:t>
        <a:bodyPr/>
        <a:lstStyle/>
        <a:p>
          <a:endParaRPr lang="en-IN"/>
        </a:p>
      </dgm:t>
    </dgm:pt>
    <dgm:pt modelId="{D319491B-B3E8-4A7B-B873-184B2553B952}">
      <dgm:prSet phldrT="[Text]" custT="1"/>
      <dgm:spPr/>
      <dgm:t>
        <a:bodyPr/>
        <a:lstStyle/>
        <a:p>
          <a:r>
            <a:rPr lang="en-IN" sz="1500" dirty="0"/>
            <a:t>Contains </a:t>
          </a:r>
          <a:r>
            <a:rPr lang="en-IN" sz="1500" dirty="0" err="1"/>
            <a:t>Keystore</a:t>
          </a:r>
          <a:r>
            <a:rPr lang="en-IN" sz="1500" dirty="0"/>
            <a:t>, Security Material, Connectivity Test and etc.</a:t>
          </a:r>
        </a:p>
      </dgm:t>
    </dgm:pt>
    <dgm:pt modelId="{670A9164-6BB8-4E80-A051-C26724F4BC3A}" type="parTrans" cxnId="{9F5FE5F8-94A2-43BD-9DA7-72EA0B5A3448}">
      <dgm:prSet/>
      <dgm:spPr/>
      <dgm:t>
        <a:bodyPr/>
        <a:lstStyle/>
        <a:p>
          <a:endParaRPr lang="en-IN"/>
        </a:p>
      </dgm:t>
    </dgm:pt>
    <dgm:pt modelId="{287E3D49-F928-48A3-B332-CA91BAABCEEB}" type="sibTrans" cxnId="{9F5FE5F8-94A2-43BD-9DA7-72EA0B5A3448}">
      <dgm:prSet/>
      <dgm:spPr/>
      <dgm:t>
        <a:bodyPr/>
        <a:lstStyle/>
        <a:p>
          <a:endParaRPr lang="en-IN"/>
        </a:p>
      </dgm:t>
    </dgm:pt>
    <dgm:pt modelId="{598AB2F3-BDF1-426D-AE62-474312945047}">
      <dgm:prSet/>
      <dgm:spPr/>
      <dgm:t>
        <a:bodyPr/>
        <a:lstStyle/>
        <a:p>
          <a:r>
            <a:rPr lang="en-IN" b="1" dirty="0"/>
            <a:t>Manage Stores</a:t>
          </a:r>
        </a:p>
      </dgm:t>
    </dgm:pt>
    <dgm:pt modelId="{9F02A2A8-4AC3-454D-9671-F710DF8FAF6C}" type="parTrans" cxnId="{49ADC0F3-7F3A-4B81-90DC-21141ECCF64F}">
      <dgm:prSet/>
      <dgm:spPr/>
      <dgm:t>
        <a:bodyPr/>
        <a:lstStyle/>
        <a:p>
          <a:endParaRPr lang="en-IN"/>
        </a:p>
      </dgm:t>
    </dgm:pt>
    <dgm:pt modelId="{E6BFB45C-9081-4DFB-9DA4-CA49BCD33AAC}" type="sibTrans" cxnId="{49ADC0F3-7F3A-4B81-90DC-21141ECCF64F}">
      <dgm:prSet/>
      <dgm:spPr/>
      <dgm:t>
        <a:bodyPr/>
        <a:lstStyle/>
        <a:p>
          <a:endParaRPr lang="en-IN"/>
        </a:p>
      </dgm:t>
    </dgm:pt>
    <dgm:pt modelId="{65AA825A-9FF1-4EF8-A528-1C6676BF43C1}">
      <dgm:prSet/>
      <dgm:spPr/>
      <dgm:t>
        <a:bodyPr/>
        <a:lstStyle/>
        <a:p>
          <a:r>
            <a:rPr lang="en-IN" b="1" dirty="0"/>
            <a:t>Access Logs</a:t>
          </a:r>
        </a:p>
      </dgm:t>
    </dgm:pt>
    <dgm:pt modelId="{DBF4E530-FE46-41A4-B39F-B2DC22A91D69}" type="parTrans" cxnId="{A8800A4C-4D96-49E8-9EFA-E985E000DE5B}">
      <dgm:prSet/>
      <dgm:spPr/>
      <dgm:t>
        <a:bodyPr/>
        <a:lstStyle/>
        <a:p>
          <a:endParaRPr lang="en-IN"/>
        </a:p>
      </dgm:t>
    </dgm:pt>
    <dgm:pt modelId="{66D20BD1-01C7-4653-A317-535177653B7F}" type="sibTrans" cxnId="{A8800A4C-4D96-49E8-9EFA-E985E000DE5B}">
      <dgm:prSet/>
      <dgm:spPr/>
      <dgm:t>
        <a:bodyPr/>
        <a:lstStyle/>
        <a:p>
          <a:endParaRPr lang="en-IN"/>
        </a:p>
      </dgm:t>
    </dgm:pt>
    <dgm:pt modelId="{18C829A3-A7EB-4EE8-B808-8C5F2A5E7E08}">
      <dgm:prSet/>
      <dgm:spPr/>
      <dgm:t>
        <a:bodyPr/>
        <a:lstStyle/>
        <a:p>
          <a:r>
            <a:rPr lang="en-IN" b="1" dirty="0"/>
            <a:t>Manage Locks</a:t>
          </a:r>
        </a:p>
      </dgm:t>
    </dgm:pt>
    <dgm:pt modelId="{F1CAD4BF-E6D9-4E55-BC77-A77FE38C2C1E}" type="parTrans" cxnId="{62F5481E-BC47-4DA6-9CEA-2E11E6D77CB8}">
      <dgm:prSet/>
      <dgm:spPr/>
      <dgm:t>
        <a:bodyPr/>
        <a:lstStyle/>
        <a:p>
          <a:endParaRPr lang="en-IN"/>
        </a:p>
      </dgm:t>
    </dgm:pt>
    <dgm:pt modelId="{BC51253A-5B9D-4ECC-A4EA-F5C0DDDCB69E}" type="sibTrans" cxnId="{62F5481E-BC47-4DA6-9CEA-2E11E6D77CB8}">
      <dgm:prSet/>
      <dgm:spPr/>
      <dgm:t>
        <a:bodyPr/>
        <a:lstStyle/>
        <a:p>
          <a:endParaRPr lang="en-IN"/>
        </a:p>
      </dgm:t>
    </dgm:pt>
    <dgm:pt modelId="{23ED46AA-0D0F-4AA3-95C9-081D6CF026A5}" type="pres">
      <dgm:prSet presAssocID="{719C9A07-7EE2-4398-8534-D6C011C1DE98}" presName="Name0" presStyleCnt="0">
        <dgm:presLayoutVars>
          <dgm:dir/>
          <dgm:animLvl val="lvl"/>
          <dgm:resizeHandles val="exact"/>
        </dgm:presLayoutVars>
      </dgm:prSet>
      <dgm:spPr/>
    </dgm:pt>
    <dgm:pt modelId="{DBCF9D1A-80CC-4B6A-87EF-0D3E1BBB8D9F}" type="pres">
      <dgm:prSet presAssocID="{77DE6927-ADC1-496B-A688-32439957B399}" presName="linNode" presStyleCnt="0"/>
      <dgm:spPr/>
    </dgm:pt>
    <dgm:pt modelId="{8633C73B-5A12-4E6F-B58C-446D98ED6A0F}" type="pres">
      <dgm:prSet presAssocID="{77DE6927-ADC1-496B-A688-32439957B399}" presName="parentText" presStyleLbl="node1" presStyleIdx="0" presStyleCnt="6" custScaleX="73876">
        <dgm:presLayoutVars>
          <dgm:chMax val="1"/>
          <dgm:bulletEnabled val="1"/>
        </dgm:presLayoutVars>
      </dgm:prSet>
      <dgm:spPr/>
    </dgm:pt>
    <dgm:pt modelId="{23A675E9-B19F-479C-A442-8231E2791559}" type="pres">
      <dgm:prSet presAssocID="{77DE6927-ADC1-496B-A688-32439957B399}" presName="descendantText" presStyleLbl="alignAccFollowNode1" presStyleIdx="0" presStyleCnt="3">
        <dgm:presLayoutVars>
          <dgm:bulletEnabled val="1"/>
        </dgm:presLayoutVars>
      </dgm:prSet>
      <dgm:spPr/>
    </dgm:pt>
    <dgm:pt modelId="{10114FA9-AF75-4E4C-A760-ED7728AEA2CE}" type="pres">
      <dgm:prSet presAssocID="{A781B494-B816-44B6-85E7-27AF8100EC0C}" presName="sp" presStyleCnt="0"/>
      <dgm:spPr/>
    </dgm:pt>
    <dgm:pt modelId="{E1BB7C4B-4029-42DB-A173-6B9B3880F665}" type="pres">
      <dgm:prSet presAssocID="{F76102B6-EE36-4F5D-9A25-4E3EA0BB57C1}" presName="linNode" presStyleCnt="0"/>
      <dgm:spPr/>
    </dgm:pt>
    <dgm:pt modelId="{E4282054-1732-4D4E-8A03-8C584D5FA24E}" type="pres">
      <dgm:prSet presAssocID="{F76102B6-EE36-4F5D-9A25-4E3EA0BB57C1}" presName="parentText" presStyleLbl="node1" presStyleIdx="1" presStyleCnt="6" custScaleX="73877" custLinFactNeighborX="-191" custLinFactNeighborY="-2284">
        <dgm:presLayoutVars>
          <dgm:chMax val="1"/>
          <dgm:bulletEnabled val="1"/>
        </dgm:presLayoutVars>
      </dgm:prSet>
      <dgm:spPr/>
    </dgm:pt>
    <dgm:pt modelId="{6E44FA4B-1D03-4A7A-B249-9C986B09B557}" type="pres">
      <dgm:prSet presAssocID="{F76102B6-EE36-4F5D-9A25-4E3EA0BB57C1}" presName="descendantText" presStyleLbl="alignAccFollowNode1" presStyleIdx="1" presStyleCnt="3" custLinFactNeighborX="0" custLinFactNeighborY="0">
        <dgm:presLayoutVars>
          <dgm:bulletEnabled val="1"/>
        </dgm:presLayoutVars>
      </dgm:prSet>
      <dgm:spPr/>
    </dgm:pt>
    <dgm:pt modelId="{AB8E25BC-DC8A-4C40-8B10-51CDBA6D51B1}" type="pres">
      <dgm:prSet presAssocID="{97827ACC-2BBC-4E11-A30B-4E2CF223DDCD}" presName="sp" presStyleCnt="0"/>
      <dgm:spPr/>
    </dgm:pt>
    <dgm:pt modelId="{B836A111-8FFB-468F-A24D-07CC6A2CE217}" type="pres">
      <dgm:prSet presAssocID="{40328F08-427C-4DAE-A697-E87B645D8C5C}" presName="linNode" presStyleCnt="0"/>
      <dgm:spPr/>
    </dgm:pt>
    <dgm:pt modelId="{3927CA82-029B-4F65-B787-527F0316E7C3}" type="pres">
      <dgm:prSet presAssocID="{40328F08-427C-4DAE-A697-E87B645D8C5C}" presName="parentText" presStyleLbl="node1" presStyleIdx="2" presStyleCnt="6" custScaleX="73877" custScaleY="117667" custLinFactNeighborX="-191" custLinFactNeighborY="-2303">
        <dgm:presLayoutVars>
          <dgm:chMax val="1"/>
          <dgm:bulletEnabled val="1"/>
        </dgm:presLayoutVars>
      </dgm:prSet>
      <dgm:spPr/>
    </dgm:pt>
    <dgm:pt modelId="{A581E849-E95C-4725-830A-798971C82AA3}" type="pres">
      <dgm:prSet presAssocID="{40328F08-427C-4DAE-A697-E87B645D8C5C}" presName="descendantText" presStyleLbl="alignAccFollowNode1" presStyleIdx="2" presStyleCnt="3" custScaleY="119204" custLinFactNeighborX="-174" custLinFactNeighborY="6023">
        <dgm:presLayoutVars>
          <dgm:bulletEnabled val="1"/>
        </dgm:presLayoutVars>
      </dgm:prSet>
      <dgm:spPr/>
    </dgm:pt>
    <dgm:pt modelId="{7EBFC942-A5E7-4F1D-AFC5-FCE9FAABA7FA}" type="pres">
      <dgm:prSet presAssocID="{E88750EC-A334-4C89-8D66-670D651BA711}" presName="sp" presStyleCnt="0"/>
      <dgm:spPr/>
    </dgm:pt>
    <dgm:pt modelId="{3FBE9B45-9BEC-4089-B26A-63821219763F}" type="pres">
      <dgm:prSet presAssocID="{598AB2F3-BDF1-426D-AE62-474312945047}" presName="linNode" presStyleCnt="0"/>
      <dgm:spPr/>
    </dgm:pt>
    <dgm:pt modelId="{208CD35F-506E-4852-97EC-11D4D892E9DF}" type="pres">
      <dgm:prSet presAssocID="{598AB2F3-BDF1-426D-AE62-474312945047}" presName="parentText" presStyleLbl="node1" presStyleIdx="3" presStyleCnt="6" custScaleX="73198" custLinFactNeighborX="-339" custLinFactNeighborY="-745">
        <dgm:presLayoutVars>
          <dgm:chMax val="1"/>
          <dgm:bulletEnabled val="1"/>
        </dgm:presLayoutVars>
      </dgm:prSet>
      <dgm:spPr/>
    </dgm:pt>
    <dgm:pt modelId="{9441DF40-DF48-444F-942A-EBC36D971B86}" type="pres">
      <dgm:prSet presAssocID="{E6BFB45C-9081-4DFB-9DA4-CA49BCD33AAC}" presName="sp" presStyleCnt="0"/>
      <dgm:spPr/>
    </dgm:pt>
    <dgm:pt modelId="{0D36AF5E-8B9B-46BE-8D9B-4B5CFD645721}" type="pres">
      <dgm:prSet presAssocID="{65AA825A-9FF1-4EF8-A528-1C6676BF43C1}" presName="linNode" presStyleCnt="0"/>
      <dgm:spPr/>
    </dgm:pt>
    <dgm:pt modelId="{D7DC6412-D4DB-4D03-8417-E89425334E05}" type="pres">
      <dgm:prSet presAssocID="{65AA825A-9FF1-4EF8-A528-1C6676BF43C1}" presName="parentText" presStyleLbl="node1" presStyleIdx="4" presStyleCnt="6" custScaleX="73199" custLinFactNeighborX="-339" custLinFactNeighborY="-867">
        <dgm:presLayoutVars>
          <dgm:chMax val="1"/>
          <dgm:bulletEnabled val="1"/>
        </dgm:presLayoutVars>
      </dgm:prSet>
      <dgm:spPr/>
    </dgm:pt>
    <dgm:pt modelId="{7C4E734E-4611-45EC-ABF1-11FEDA3C5D4B}" type="pres">
      <dgm:prSet presAssocID="{66D20BD1-01C7-4653-A317-535177653B7F}" presName="sp" presStyleCnt="0"/>
      <dgm:spPr/>
    </dgm:pt>
    <dgm:pt modelId="{3DDA6725-A44A-4087-A9D8-F9722DBB618A}" type="pres">
      <dgm:prSet presAssocID="{18C829A3-A7EB-4EE8-B808-8C5F2A5E7E08}" presName="linNode" presStyleCnt="0"/>
      <dgm:spPr/>
    </dgm:pt>
    <dgm:pt modelId="{EA5382D1-C71F-4710-8FCC-1D2271103CA1}" type="pres">
      <dgm:prSet presAssocID="{18C829A3-A7EB-4EE8-B808-8C5F2A5E7E08}" presName="parentText" presStyleLbl="node1" presStyleIdx="5" presStyleCnt="6" custScaleX="73199">
        <dgm:presLayoutVars>
          <dgm:chMax val="1"/>
          <dgm:bulletEnabled val="1"/>
        </dgm:presLayoutVars>
      </dgm:prSet>
      <dgm:spPr/>
    </dgm:pt>
  </dgm:ptLst>
  <dgm:cxnLst>
    <dgm:cxn modelId="{7C6ED017-E8B2-4243-BF0D-138079DE18A8}" type="presOf" srcId="{157FFF3A-EA0C-45FE-874F-EF07E36D3AC0}" destId="{A581E849-E95C-4725-830A-798971C82AA3}" srcOrd="0" destOrd="0" presId="urn:microsoft.com/office/officeart/2005/8/layout/vList5"/>
    <dgm:cxn modelId="{62F5481E-BC47-4DA6-9CEA-2E11E6D77CB8}" srcId="{719C9A07-7EE2-4398-8534-D6C011C1DE98}" destId="{18C829A3-A7EB-4EE8-B808-8C5F2A5E7E08}" srcOrd="5" destOrd="0" parTransId="{F1CAD4BF-E6D9-4E55-BC77-A77FE38C2C1E}" sibTransId="{BC51253A-5B9D-4ECC-A4EA-F5C0DDDCB69E}"/>
    <dgm:cxn modelId="{CD1CD521-68C2-46EC-AD4D-B1515D87A71B}" type="presOf" srcId="{D319491B-B3E8-4A7B-B873-184B2553B952}" destId="{A581E849-E95C-4725-830A-798971C82AA3}" srcOrd="0" destOrd="1" presId="urn:microsoft.com/office/officeart/2005/8/layout/vList5"/>
    <dgm:cxn modelId="{DF5A902C-8CE3-44C6-B2EC-C111A2066268}" srcId="{719C9A07-7EE2-4398-8534-D6C011C1DE98}" destId="{F76102B6-EE36-4F5D-9A25-4E3EA0BB57C1}" srcOrd="1" destOrd="0" parTransId="{E68218BB-9E42-40ED-8FA1-B68C9527E161}" sibTransId="{97827ACC-2BBC-4E11-A30B-4E2CF223DDCD}"/>
    <dgm:cxn modelId="{0C2FF038-DBFE-4200-A217-F75375C63E23}" srcId="{40328F08-427C-4DAE-A697-E87B645D8C5C}" destId="{157FFF3A-EA0C-45FE-874F-EF07E36D3AC0}" srcOrd="0" destOrd="0" parTransId="{8202E2A6-E431-468E-857D-54D9A558B355}" sibTransId="{AC1BD2D3-DCEE-4C5D-8942-B93F7E2538C6}"/>
    <dgm:cxn modelId="{A8800A4C-4D96-49E8-9EFA-E985E000DE5B}" srcId="{719C9A07-7EE2-4398-8534-D6C011C1DE98}" destId="{65AA825A-9FF1-4EF8-A528-1C6676BF43C1}" srcOrd="4" destOrd="0" parTransId="{DBF4E530-FE46-41A4-B39F-B2DC22A91D69}" sibTransId="{66D20BD1-01C7-4653-A317-535177653B7F}"/>
    <dgm:cxn modelId="{026AA84F-E248-4950-821E-98D494968C9E}" type="presOf" srcId="{18C829A3-A7EB-4EE8-B808-8C5F2A5E7E08}" destId="{EA5382D1-C71F-4710-8FCC-1D2271103CA1}" srcOrd="0" destOrd="0" presId="urn:microsoft.com/office/officeart/2005/8/layout/vList5"/>
    <dgm:cxn modelId="{5BAA3F72-AC98-450A-BD6D-9514D3FDD880}" srcId="{719C9A07-7EE2-4398-8534-D6C011C1DE98}" destId="{40328F08-427C-4DAE-A697-E87B645D8C5C}" srcOrd="2" destOrd="0" parTransId="{1219F93E-3E2C-44E0-A1F2-9F06596B3725}" sibTransId="{E88750EC-A334-4C89-8D66-670D651BA711}"/>
    <dgm:cxn modelId="{22C06C79-2AEC-46A8-AA79-8BBADD98746A}" type="presOf" srcId="{48A2B884-77D1-4B2B-AD80-240814D7B99B}" destId="{23A675E9-B19F-479C-A442-8231E2791559}" srcOrd="0" destOrd="0" presId="urn:microsoft.com/office/officeart/2005/8/layout/vList5"/>
    <dgm:cxn modelId="{B8B9D191-D114-466C-A1BE-A74C3A0B1C02}" type="presOf" srcId="{77DE6927-ADC1-496B-A688-32439957B399}" destId="{8633C73B-5A12-4E6F-B58C-446D98ED6A0F}" srcOrd="0" destOrd="0" presId="urn:microsoft.com/office/officeart/2005/8/layout/vList5"/>
    <dgm:cxn modelId="{ADA20296-6572-4E3F-A428-C5DE53750372}" srcId="{F76102B6-EE36-4F5D-9A25-4E3EA0BB57C1}" destId="{101CEEDE-AECA-4E7E-BE78-522AFEB670C0}" srcOrd="0" destOrd="0" parTransId="{14D99D82-7941-4EED-B23B-319C343900EE}" sibTransId="{148D40E1-BBED-485D-841B-54CB26ADBC6A}"/>
    <dgm:cxn modelId="{D7F1729E-0281-4594-B4CA-DD87953C590D}" type="presOf" srcId="{F76102B6-EE36-4F5D-9A25-4E3EA0BB57C1}" destId="{E4282054-1732-4D4E-8A03-8C584D5FA24E}" srcOrd="0" destOrd="0" presId="urn:microsoft.com/office/officeart/2005/8/layout/vList5"/>
    <dgm:cxn modelId="{A2E399BF-F014-4A4D-A07F-BCFB104745CB}" srcId="{719C9A07-7EE2-4398-8534-D6C011C1DE98}" destId="{77DE6927-ADC1-496B-A688-32439957B399}" srcOrd="0" destOrd="0" parTransId="{B961232E-B037-4937-AE52-E8BAF0A826C7}" sibTransId="{A781B494-B816-44B6-85E7-27AF8100EC0C}"/>
    <dgm:cxn modelId="{EEC181D0-9A8F-4224-9F5D-E0F4D5F5B77D}" type="presOf" srcId="{598AB2F3-BDF1-426D-AE62-474312945047}" destId="{208CD35F-506E-4852-97EC-11D4D892E9DF}" srcOrd="0" destOrd="0" presId="urn:microsoft.com/office/officeart/2005/8/layout/vList5"/>
    <dgm:cxn modelId="{0C0BB5D0-4FCB-4257-A6B1-B37F2AEF0B27}" type="presOf" srcId="{101CEEDE-AECA-4E7E-BE78-522AFEB670C0}" destId="{6E44FA4B-1D03-4A7A-B249-9C986B09B557}" srcOrd="0" destOrd="0" presId="urn:microsoft.com/office/officeart/2005/8/layout/vList5"/>
    <dgm:cxn modelId="{9E5B37DF-EE0F-4755-8E11-4812DC1FAA10}" type="presOf" srcId="{40328F08-427C-4DAE-A697-E87B645D8C5C}" destId="{3927CA82-029B-4F65-B787-527F0316E7C3}" srcOrd="0" destOrd="0" presId="urn:microsoft.com/office/officeart/2005/8/layout/vList5"/>
    <dgm:cxn modelId="{C782D4E3-8456-4384-994B-50887FB4312A}" type="presOf" srcId="{65AA825A-9FF1-4EF8-A528-1C6676BF43C1}" destId="{D7DC6412-D4DB-4D03-8417-E89425334E05}" srcOrd="0" destOrd="0" presId="urn:microsoft.com/office/officeart/2005/8/layout/vList5"/>
    <dgm:cxn modelId="{49ADC0F3-7F3A-4B81-90DC-21141ECCF64F}" srcId="{719C9A07-7EE2-4398-8534-D6C011C1DE98}" destId="{598AB2F3-BDF1-426D-AE62-474312945047}" srcOrd="3" destOrd="0" parTransId="{9F02A2A8-4AC3-454D-9671-F710DF8FAF6C}" sibTransId="{E6BFB45C-9081-4DFB-9DA4-CA49BCD33AAC}"/>
    <dgm:cxn modelId="{D9AAC2F3-B861-41A7-A476-409068D6A57B}" srcId="{77DE6927-ADC1-496B-A688-32439957B399}" destId="{48A2B884-77D1-4B2B-AD80-240814D7B99B}" srcOrd="0" destOrd="0" parTransId="{504A4A3D-675F-4D14-B886-53F516BC90A1}" sibTransId="{8B535E7E-CCD5-49DF-85B7-C9015BE679A2}"/>
    <dgm:cxn modelId="{9F5FE5F8-94A2-43BD-9DA7-72EA0B5A3448}" srcId="{40328F08-427C-4DAE-A697-E87B645D8C5C}" destId="{D319491B-B3E8-4A7B-B873-184B2553B952}" srcOrd="1" destOrd="0" parTransId="{670A9164-6BB8-4E80-A051-C26724F4BC3A}" sibTransId="{287E3D49-F928-48A3-B332-CA91BAABCEEB}"/>
    <dgm:cxn modelId="{DC8582FF-C26D-45D8-BF12-D2066B57B47C}" type="presOf" srcId="{719C9A07-7EE2-4398-8534-D6C011C1DE98}" destId="{23ED46AA-0D0F-4AA3-95C9-081D6CF026A5}" srcOrd="0" destOrd="0" presId="urn:microsoft.com/office/officeart/2005/8/layout/vList5"/>
    <dgm:cxn modelId="{69D2CC22-E15B-43DC-AFF1-D459AFA1A61F}" type="presParOf" srcId="{23ED46AA-0D0F-4AA3-95C9-081D6CF026A5}" destId="{DBCF9D1A-80CC-4B6A-87EF-0D3E1BBB8D9F}" srcOrd="0" destOrd="0" presId="urn:microsoft.com/office/officeart/2005/8/layout/vList5"/>
    <dgm:cxn modelId="{16BB1E8D-1BF8-4C27-A03B-71D7DCBA6857}" type="presParOf" srcId="{DBCF9D1A-80CC-4B6A-87EF-0D3E1BBB8D9F}" destId="{8633C73B-5A12-4E6F-B58C-446D98ED6A0F}" srcOrd="0" destOrd="0" presId="urn:microsoft.com/office/officeart/2005/8/layout/vList5"/>
    <dgm:cxn modelId="{86485D19-07DD-4139-A270-E68F7979B99B}" type="presParOf" srcId="{DBCF9D1A-80CC-4B6A-87EF-0D3E1BBB8D9F}" destId="{23A675E9-B19F-479C-A442-8231E2791559}" srcOrd="1" destOrd="0" presId="urn:microsoft.com/office/officeart/2005/8/layout/vList5"/>
    <dgm:cxn modelId="{23224273-D3E5-4E12-9435-2572A28C0ACD}" type="presParOf" srcId="{23ED46AA-0D0F-4AA3-95C9-081D6CF026A5}" destId="{10114FA9-AF75-4E4C-A760-ED7728AEA2CE}" srcOrd="1" destOrd="0" presId="urn:microsoft.com/office/officeart/2005/8/layout/vList5"/>
    <dgm:cxn modelId="{ACFE7FB7-DE78-494B-96D1-D45FD048A688}" type="presParOf" srcId="{23ED46AA-0D0F-4AA3-95C9-081D6CF026A5}" destId="{E1BB7C4B-4029-42DB-A173-6B9B3880F665}" srcOrd="2" destOrd="0" presId="urn:microsoft.com/office/officeart/2005/8/layout/vList5"/>
    <dgm:cxn modelId="{8A13814D-079C-4F81-85F1-8F3816CA8084}" type="presParOf" srcId="{E1BB7C4B-4029-42DB-A173-6B9B3880F665}" destId="{E4282054-1732-4D4E-8A03-8C584D5FA24E}" srcOrd="0" destOrd="0" presId="urn:microsoft.com/office/officeart/2005/8/layout/vList5"/>
    <dgm:cxn modelId="{332BE143-67D4-4587-AE48-1CD0B78F216D}" type="presParOf" srcId="{E1BB7C4B-4029-42DB-A173-6B9B3880F665}" destId="{6E44FA4B-1D03-4A7A-B249-9C986B09B557}" srcOrd="1" destOrd="0" presId="urn:microsoft.com/office/officeart/2005/8/layout/vList5"/>
    <dgm:cxn modelId="{CD516122-BCF8-44BD-B74E-736F547475D7}" type="presParOf" srcId="{23ED46AA-0D0F-4AA3-95C9-081D6CF026A5}" destId="{AB8E25BC-DC8A-4C40-8B10-51CDBA6D51B1}" srcOrd="3" destOrd="0" presId="urn:microsoft.com/office/officeart/2005/8/layout/vList5"/>
    <dgm:cxn modelId="{5D5880CB-B203-4B45-9B2D-7D53802DB935}" type="presParOf" srcId="{23ED46AA-0D0F-4AA3-95C9-081D6CF026A5}" destId="{B836A111-8FFB-468F-A24D-07CC6A2CE217}" srcOrd="4" destOrd="0" presId="urn:microsoft.com/office/officeart/2005/8/layout/vList5"/>
    <dgm:cxn modelId="{A22A0AC0-B771-4149-90DA-3F9E71E1994C}" type="presParOf" srcId="{B836A111-8FFB-468F-A24D-07CC6A2CE217}" destId="{3927CA82-029B-4F65-B787-527F0316E7C3}" srcOrd="0" destOrd="0" presId="urn:microsoft.com/office/officeart/2005/8/layout/vList5"/>
    <dgm:cxn modelId="{F31C63DE-FA42-4E5A-80BB-F9D1C62F7BBD}" type="presParOf" srcId="{B836A111-8FFB-468F-A24D-07CC6A2CE217}" destId="{A581E849-E95C-4725-830A-798971C82AA3}" srcOrd="1" destOrd="0" presId="urn:microsoft.com/office/officeart/2005/8/layout/vList5"/>
    <dgm:cxn modelId="{9B9E8689-0ADA-4A20-8136-10468C9931A4}" type="presParOf" srcId="{23ED46AA-0D0F-4AA3-95C9-081D6CF026A5}" destId="{7EBFC942-A5E7-4F1D-AFC5-FCE9FAABA7FA}" srcOrd="5" destOrd="0" presId="urn:microsoft.com/office/officeart/2005/8/layout/vList5"/>
    <dgm:cxn modelId="{429E1070-EF88-4D04-82DE-A7C1CAC59485}" type="presParOf" srcId="{23ED46AA-0D0F-4AA3-95C9-081D6CF026A5}" destId="{3FBE9B45-9BEC-4089-B26A-63821219763F}" srcOrd="6" destOrd="0" presId="urn:microsoft.com/office/officeart/2005/8/layout/vList5"/>
    <dgm:cxn modelId="{66D2C2C0-B0F2-417E-8648-D6768B11A88A}" type="presParOf" srcId="{3FBE9B45-9BEC-4089-B26A-63821219763F}" destId="{208CD35F-506E-4852-97EC-11D4D892E9DF}" srcOrd="0" destOrd="0" presId="urn:microsoft.com/office/officeart/2005/8/layout/vList5"/>
    <dgm:cxn modelId="{33D0212D-2A2A-4DC3-9497-4ECF7A663DDA}" type="presParOf" srcId="{23ED46AA-0D0F-4AA3-95C9-081D6CF026A5}" destId="{9441DF40-DF48-444F-942A-EBC36D971B86}" srcOrd="7" destOrd="0" presId="urn:microsoft.com/office/officeart/2005/8/layout/vList5"/>
    <dgm:cxn modelId="{3CB1A76C-A39F-465A-9233-1B73BFBF0825}" type="presParOf" srcId="{23ED46AA-0D0F-4AA3-95C9-081D6CF026A5}" destId="{0D36AF5E-8B9B-46BE-8D9B-4B5CFD645721}" srcOrd="8" destOrd="0" presId="urn:microsoft.com/office/officeart/2005/8/layout/vList5"/>
    <dgm:cxn modelId="{D4458838-3615-4EF8-8E0A-C5043A8154FA}" type="presParOf" srcId="{0D36AF5E-8B9B-46BE-8D9B-4B5CFD645721}" destId="{D7DC6412-D4DB-4D03-8417-E89425334E05}" srcOrd="0" destOrd="0" presId="urn:microsoft.com/office/officeart/2005/8/layout/vList5"/>
    <dgm:cxn modelId="{CAADCCC1-075D-47D0-B329-10EEA803E64C}" type="presParOf" srcId="{23ED46AA-0D0F-4AA3-95C9-081D6CF026A5}" destId="{7C4E734E-4611-45EC-ABF1-11FEDA3C5D4B}" srcOrd="9" destOrd="0" presId="urn:microsoft.com/office/officeart/2005/8/layout/vList5"/>
    <dgm:cxn modelId="{B24CA983-690F-4198-88F3-B9FBACBD79A0}" type="presParOf" srcId="{23ED46AA-0D0F-4AA3-95C9-081D6CF026A5}" destId="{3DDA6725-A44A-4087-A9D8-F9722DBB618A}" srcOrd="10" destOrd="0" presId="urn:microsoft.com/office/officeart/2005/8/layout/vList5"/>
    <dgm:cxn modelId="{181FABF8-0C21-4222-B2C3-A5674E767AF3}" type="presParOf" srcId="{3DDA6725-A44A-4087-A9D8-F9722DBB618A}" destId="{EA5382D1-C71F-4710-8FCC-1D2271103CA1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838E39-A6A1-444B-B306-D262C136D55F}">
      <dsp:nvSpPr>
        <dsp:cNvPr id="0" name=""/>
        <dsp:cNvSpPr/>
      </dsp:nvSpPr>
      <dsp:spPr>
        <a:xfrm rot="5400000">
          <a:off x="-239951" y="244124"/>
          <a:ext cx="1599678" cy="11197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Discover</a:t>
          </a:r>
        </a:p>
      </dsp:txBody>
      <dsp:txXfrm rot="-5400000">
        <a:off x="1" y="564059"/>
        <a:ext cx="1119774" cy="479904"/>
      </dsp:txXfrm>
    </dsp:sp>
    <dsp:sp modelId="{2F6DBE83-22EF-40CC-A91F-7DE752C4A507}">
      <dsp:nvSpPr>
        <dsp:cNvPr id="0" name=""/>
        <dsp:cNvSpPr/>
      </dsp:nvSpPr>
      <dsp:spPr>
        <a:xfrm rot="5400000">
          <a:off x="3354691" y="-2230744"/>
          <a:ext cx="1039790" cy="55096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Discover contains Standard Integration Content Catalog.</a:t>
          </a:r>
          <a:endParaRPr lang="en-IN" sz="1600" kern="1200" dirty="0"/>
        </a:p>
      </dsp:txBody>
      <dsp:txXfrm rot="-5400000">
        <a:off x="1119774" y="54931"/>
        <a:ext cx="5458867" cy="938274"/>
      </dsp:txXfrm>
    </dsp:sp>
    <dsp:sp modelId="{B79A318F-B639-4B0A-86E0-4EBA08CB36E0}">
      <dsp:nvSpPr>
        <dsp:cNvPr id="0" name=""/>
        <dsp:cNvSpPr/>
      </dsp:nvSpPr>
      <dsp:spPr>
        <a:xfrm rot="5400000">
          <a:off x="-239951" y="1629308"/>
          <a:ext cx="1599678" cy="11197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Design</a:t>
          </a:r>
        </a:p>
      </dsp:txBody>
      <dsp:txXfrm rot="-5400000">
        <a:off x="1" y="1949243"/>
        <a:ext cx="1119774" cy="479904"/>
      </dsp:txXfrm>
    </dsp:sp>
    <dsp:sp modelId="{24F8C925-837C-457C-A8E0-6DB83233C518}">
      <dsp:nvSpPr>
        <dsp:cNvPr id="0" name=""/>
        <dsp:cNvSpPr/>
      </dsp:nvSpPr>
      <dsp:spPr>
        <a:xfrm rot="5400000">
          <a:off x="3354691" y="-824956"/>
          <a:ext cx="1039790" cy="55096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Design helps to create/edit a content using Modelling area</a:t>
          </a:r>
          <a:endParaRPr lang="en-IN" sz="1600" kern="1200" dirty="0"/>
        </a:p>
      </dsp:txBody>
      <dsp:txXfrm rot="-5400000">
        <a:off x="1119774" y="1460719"/>
        <a:ext cx="5458867" cy="938274"/>
      </dsp:txXfrm>
    </dsp:sp>
    <dsp:sp modelId="{59C5AE2A-3D53-45A4-983F-D0FCB1319523}">
      <dsp:nvSpPr>
        <dsp:cNvPr id="0" name=""/>
        <dsp:cNvSpPr/>
      </dsp:nvSpPr>
      <dsp:spPr>
        <a:xfrm rot="5400000">
          <a:off x="-239951" y="3055700"/>
          <a:ext cx="1599678" cy="11197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Operations/Monitor</a:t>
          </a:r>
        </a:p>
      </dsp:txBody>
      <dsp:txXfrm rot="-5400000">
        <a:off x="1" y="3375635"/>
        <a:ext cx="1119774" cy="479904"/>
      </dsp:txXfrm>
    </dsp:sp>
    <dsp:sp modelId="{9D75A595-949C-4493-921A-5F51C6B39CFE}">
      <dsp:nvSpPr>
        <dsp:cNvPr id="0" name=""/>
        <dsp:cNvSpPr/>
      </dsp:nvSpPr>
      <dsp:spPr>
        <a:xfrm rot="5400000">
          <a:off x="3345656" y="686297"/>
          <a:ext cx="1039790" cy="55096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Operation’s view is used to monitor deployed content and messages processed in the tenant .</a:t>
          </a:r>
          <a:endParaRPr lang="en-IN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Contains Message Processing logs, Connectivity Tests, Security Materials, Logs and Traces</a:t>
          </a:r>
          <a:endParaRPr lang="en-IN" sz="1600" kern="1200" dirty="0"/>
        </a:p>
      </dsp:txBody>
      <dsp:txXfrm rot="-5400000">
        <a:off x="1110739" y="2971972"/>
        <a:ext cx="5458867" cy="9382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800BB7-A143-486C-A386-3C6B8C6965CE}">
      <dsp:nvSpPr>
        <dsp:cNvPr id="0" name=""/>
        <dsp:cNvSpPr/>
      </dsp:nvSpPr>
      <dsp:spPr>
        <a:xfrm>
          <a:off x="1979102" y="1150144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00" b="1" kern="1200" dirty="0"/>
            <a:t>Streams</a:t>
          </a:r>
        </a:p>
      </dsp:txBody>
      <dsp:txXfrm>
        <a:off x="2107164" y="1278206"/>
        <a:ext cx="618339" cy="618339"/>
      </dsp:txXfrm>
    </dsp:sp>
    <dsp:sp modelId="{B01A79C7-6402-4243-BF17-F1E37FCDF7E5}">
      <dsp:nvSpPr>
        <dsp:cNvPr id="0" name=""/>
        <dsp:cNvSpPr/>
      </dsp:nvSpPr>
      <dsp:spPr>
        <a:xfrm rot="16200000">
          <a:off x="2284576" y="1002101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409746" y="1011798"/>
        <a:ext cx="13175" cy="13175"/>
      </dsp:txXfrm>
    </dsp:sp>
    <dsp:sp modelId="{68BB6312-97E9-4BEB-8E76-A6C4A4781C19}">
      <dsp:nvSpPr>
        <dsp:cNvPr id="0" name=""/>
        <dsp:cNvSpPr/>
      </dsp:nvSpPr>
      <dsp:spPr>
        <a:xfrm>
          <a:off x="1979102" y="12166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Vendor</a:t>
          </a:r>
        </a:p>
      </dsp:txBody>
      <dsp:txXfrm>
        <a:off x="2107164" y="140228"/>
        <a:ext cx="618339" cy="618339"/>
      </dsp:txXfrm>
    </dsp:sp>
    <dsp:sp modelId="{22382EF4-F490-4A29-9F80-AE8E3ABE0792}">
      <dsp:nvSpPr>
        <dsp:cNvPr id="0" name=""/>
        <dsp:cNvSpPr/>
      </dsp:nvSpPr>
      <dsp:spPr>
        <a:xfrm rot="19800000">
          <a:off x="2777335" y="1286596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902505" y="1296293"/>
        <a:ext cx="13175" cy="13175"/>
      </dsp:txXfrm>
    </dsp:sp>
    <dsp:sp modelId="{D7AB624B-66F5-416D-AB0E-BA019C5B6CBD}">
      <dsp:nvSpPr>
        <dsp:cNvPr id="0" name=""/>
        <dsp:cNvSpPr/>
      </dsp:nvSpPr>
      <dsp:spPr>
        <a:xfrm>
          <a:off x="2964621" y="581155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Supported Platforms</a:t>
          </a:r>
        </a:p>
      </dsp:txBody>
      <dsp:txXfrm>
        <a:off x="3092683" y="709217"/>
        <a:ext cx="618339" cy="618339"/>
      </dsp:txXfrm>
    </dsp:sp>
    <dsp:sp modelId="{A24CD9B4-4974-4F41-A804-40311BEEF9D8}">
      <dsp:nvSpPr>
        <dsp:cNvPr id="0" name=""/>
        <dsp:cNvSpPr/>
      </dsp:nvSpPr>
      <dsp:spPr>
        <a:xfrm rot="1800000">
          <a:off x="2777335" y="1855585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902505" y="1865282"/>
        <a:ext cx="13175" cy="13175"/>
      </dsp:txXfrm>
    </dsp:sp>
    <dsp:sp modelId="{2BAE505D-FD5F-40C0-8499-935A83E43698}">
      <dsp:nvSpPr>
        <dsp:cNvPr id="0" name=""/>
        <dsp:cNvSpPr/>
      </dsp:nvSpPr>
      <dsp:spPr>
        <a:xfrm>
          <a:off x="2964621" y="1719133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Line of Business</a:t>
          </a:r>
        </a:p>
      </dsp:txBody>
      <dsp:txXfrm>
        <a:off x="3092683" y="1847195"/>
        <a:ext cx="618339" cy="618339"/>
      </dsp:txXfrm>
    </dsp:sp>
    <dsp:sp modelId="{8D962AE1-F818-40DB-854C-707DDBE2B144}">
      <dsp:nvSpPr>
        <dsp:cNvPr id="0" name=""/>
        <dsp:cNvSpPr/>
      </dsp:nvSpPr>
      <dsp:spPr>
        <a:xfrm rot="5400000">
          <a:off x="2284576" y="2140079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409746" y="2149777"/>
        <a:ext cx="13175" cy="13175"/>
      </dsp:txXfrm>
    </dsp:sp>
    <dsp:sp modelId="{AE3A0D20-A11D-4BB6-965C-DF4270D7F72A}">
      <dsp:nvSpPr>
        <dsp:cNvPr id="0" name=""/>
        <dsp:cNvSpPr/>
      </dsp:nvSpPr>
      <dsp:spPr>
        <a:xfrm>
          <a:off x="1979102" y="2288122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Industries</a:t>
          </a:r>
        </a:p>
      </dsp:txBody>
      <dsp:txXfrm>
        <a:off x="2107164" y="2416184"/>
        <a:ext cx="618339" cy="618339"/>
      </dsp:txXfrm>
    </dsp:sp>
    <dsp:sp modelId="{45ADF3D5-4AF2-4817-99F2-2DDE7A10D5C5}">
      <dsp:nvSpPr>
        <dsp:cNvPr id="0" name=""/>
        <dsp:cNvSpPr/>
      </dsp:nvSpPr>
      <dsp:spPr>
        <a:xfrm rot="9000000">
          <a:off x="1791817" y="1855585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916987" y="1865282"/>
        <a:ext cx="13175" cy="13175"/>
      </dsp:txXfrm>
    </dsp:sp>
    <dsp:sp modelId="{37DCB91B-28EC-4CF3-8537-A91C4070485E}">
      <dsp:nvSpPr>
        <dsp:cNvPr id="0" name=""/>
        <dsp:cNvSpPr/>
      </dsp:nvSpPr>
      <dsp:spPr>
        <a:xfrm>
          <a:off x="993584" y="1719133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Products</a:t>
          </a:r>
        </a:p>
      </dsp:txBody>
      <dsp:txXfrm>
        <a:off x="1121646" y="1847195"/>
        <a:ext cx="618339" cy="618339"/>
      </dsp:txXfrm>
    </dsp:sp>
    <dsp:sp modelId="{7F3B3B52-6938-4E90-8DA4-BB41B34017C7}">
      <dsp:nvSpPr>
        <dsp:cNvPr id="0" name=""/>
        <dsp:cNvSpPr/>
      </dsp:nvSpPr>
      <dsp:spPr>
        <a:xfrm rot="12600000">
          <a:off x="1791817" y="1286596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916987" y="1296293"/>
        <a:ext cx="13175" cy="13175"/>
      </dsp:txXfrm>
    </dsp:sp>
    <dsp:sp modelId="{ECE5C85E-EB8C-4CED-A254-18A1B76C6FD7}">
      <dsp:nvSpPr>
        <dsp:cNvPr id="0" name=""/>
        <dsp:cNvSpPr/>
      </dsp:nvSpPr>
      <dsp:spPr>
        <a:xfrm>
          <a:off x="993584" y="581155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Countries</a:t>
          </a:r>
        </a:p>
      </dsp:txBody>
      <dsp:txXfrm>
        <a:off x="1121646" y="709217"/>
        <a:ext cx="618339" cy="61833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0B055C-AF8F-4CEC-915F-1DFC624E0F3A}">
      <dsp:nvSpPr>
        <dsp:cNvPr id="0" name=""/>
        <dsp:cNvSpPr/>
      </dsp:nvSpPr>
      <dsp:spPr>
        <a:xfrm rot="16200000">
          <a:off x="432456" y="-432456"/>
          <a:ext cx="1268686" cy="21336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Integration Flow</a:t>
          </a:r>
        </a:p>
      </dsp:txBody>
      <dsp:txXfrm rot="5400000">
        <a:off x="-1" y="1"/>
        <a:ext cx="2133600" cy="951514"/>
      </dsp:txXfrm>
    </dsp:sp>
    <dsp:sp modelId="{77AAEABB-C439-4FBE-8DE2-7998B3B7148A}">
      <dsp:nvSpPr>
        <dsp:cNvPr id="0" name=""/>
        <dsp:cNvSpPr/>
      </dsp:nvSpPr>
      <dsp:spPr>
        <a:xfrm>
          <a:off x="2133600" y="0"/>
          <a:ext cx="2133600" cy="12686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OData Service</a:t>
          </a:r>
        </a:p>
      </dsp:txBody>
      <dsp:txXfrm>
        <a:off x="2133600" y="0"/>
        <a:ext cx="2133600" cy="951514"/>
      </dsp:txXfrm>
    </dsp:sp>
    <dsp:sp modelId="{90E27CC4-17BA-4285-AFD0-A5B98D3F4EF7}">
      <dsp:nvSpPr>
        <dsp:cNvPr id="0" name=""/>
        <dsp:cNvSpPr/>
      </dsp:nvSpPr>
      <dsp:spPr>
        <a:xfrm rot="10800000">
          <a:off x="0" y="1268686"/>
          <a:ext cx="2133600" cy="12686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Value Mapping</a:t>
          </a:r>
        </a:p>
      </dsp:txBody>
      <dsp:txXfrm rot="10800000">
        <a:off x="0" y="1585858"/>
        <a:ext cx="2133600" cy="951514"/>
      </dsp:txXfrm>
    </dsp:sp>
    <dsp:sp modelId="{B5DBF0AB-9556-41CD-90FC-50784E84D5AD}">
      <dsp:nvSpPr>
        <dsp:cNvPr id="0" name=""/>
        <dsp:cNvSpPr/>
      </dsp:nvSpPr>
      <dsp:spPr>
        <a:xfrm rot="5400000">
          <a:off x="2566056" y="836229"/>
          <a:ext cx="1268686" cy="21336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Data Integration</a:t>
          </a:r>
        </a:p>
      </dsp:txBody>
      <dsp:txXfrm rot="-5400000">
        <a:off x="2133599" y="1585858"/>
        <a:ext cx="2133600" cy="951514"/>
      </dsp:txXfrm>
    </dsp:sp>
    <dsp:sp modelId="{4DF061A3-83A3-4F59-9A35-2A96F9B5EBC4}">
      <dsp:nvSpPr>
        <dsp:cNvPr id="0" name=""/>
        <dsp:cNvSpPr/>
      </dsp:nvSpPr>
      <dsp:spPr>
        <a:xfrm>
          <a:off x="1493520" y="951514"/>
          <a:ext cx="1280160" cy="634343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200" extrusionH="600" contourW="3000" prstMaterial="plastic">
          <a:bevelT w="80600" h="18600" prst="relaxedInset"/>
          <a:bevelB w="80600" h="8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Artifacts</a:t>
          </a:r>
        </a:p>
      </dsp:txBody>
      <dsp:txXfrm>
        <a:off x="1524486" y="982480"/>
        <a:ext cx="1218228" cy="5724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A675E9-B19F-479C-A442-8231E2791559}">
      <dsp:nvSpPr>
        <dsp:cNvPr id="0" name=""/>
        <dsp:cNvSpPr/>
      </dsp:nvSpPr>
      <dsp:spPr>
        <a:xfrm rot="5400000">
          <a:off x="6053033" y="-2861339"/>
          <a:ext cx="530899" cy="63886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Monitor message processing on the tenant within time frame</a:t>
          </a:r>
        </a:p>
      </dsp:txBody>
      <dsp:txXfrm rot="-5400000">
        <a:off x="3124179" y="93431"/>
        <a:ext cx="6362692" cy="479067"/>
      </dsp:txXfrm>
    </dsp:sp>
    <dsp:sp modelId="{8633C73B-5A12-4E6F-B58C-446D98ED6A0F}">
      <dsp:nvSpPr>
        <dsp:cNvPr id="0" name=""/>
        <dsp:cNvSpPr/>
      </dsp:nvSpPr>
      <dsp:spPr>
        <a:xfrm>
          <a:off x="469377" y="1151"/>
          <a:ext cx="2654802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onitor Message Processing</a:t>
          </a:r>
        </a:p>
      </dsp:txBody>
      <dsp:txXfrm>
        <a:off x="501772" y="33546"/>
        <a:ext cx="2590012" cy="598834"/>
      </dsp:txXfrm>
    </dsp:sp>
    <dsp:sp modelId="{6E44FA4B-1D03-4A7A-B249-9C986B09B557}">
      <dsp:nvSpPr>
        <dsp:cNvPr id="0" name=""/>
        <dsp:cNvSpPr/>
      </dsp:nvSpPr>
      <dsp:spPr>
        <a:xfrm rot="5400000">
          <a:off x="6053069" y="-2164534"/>
          <a:ext cx="530899" cy="6388608"/>
        </a:xfrm>
        <a:prstGeom prst="round2SameRect">
          <a:avLst/>
        </a:prstGeom>
        <a:solidFill>
          <a:schemeClr val="accent1">
            <a:tint val="40000"/>
            <a:hueOff val="0"/>
            <a:satOff val="0"/>
            <a:lum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Manage integration content for the tenant</a:t>
          </a:r>
        </a:p>
      </dsp:txBody>
      <dsp:txXfrm rot="-5400000">
        <a:off x="3124215" y="790236"/>
        <a:ext cx="6362692" cy="479067"/>
      </dsp:txXfrm>
    </dsp:sp>
    <dsp:sp modelId="{E4282054-1732-4D4E-8A03-8C584D5FA24E}">
      <dsp:nvSpPr>
        <dsp:cNvPr id="0" name=""/>
        <dsp:cNvSpPr/>
      </dsp:nvSpPr>
      <dsp:spPr>
        <a:xfrm>
          <a:off x="457174" y="682800"/>
          <a:ext cx="2654837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Integration Content</a:t>
          </a:r>
        </a:p>
      </dsp:txBody>
      <dsp:txXfrm>
        <a:off x="489569" y="715195"/>
        <a:ext cx="2590047" cy="598834"/>
      </dsp:txXfrm>
    </dsp:sp>
    <dsp:sp modelId="{A581E849-E95C-4725-830A-798971C82AA3}">
      <dsp:nvSpPr>
        <dsp:cNvPr id="0" name=""/>
        <dsp:cNvSpPr/>
      </dsp:nvSpPr>
      <dsp:spPr>
        <a:xfrm rot="5400000">
          <a:off x="5990133" y="-1374011"/>
          <a:ext cx="632853" cy="63823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Allows us to manage certain tasks related to the setup of secure connections between tenant and remote systems.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Contains </a:t>
          </a:r>
          <a:r>
            <a:rPr lang="en-IN" sz="1500" kern="1200" dirty="0" err="1"/>
            <a:t>Keystore</a:t>
          </a:r>
          <a:r>
            <a:rPr lang="en-IN" sz="1500" kern="1200" dirty="0"/>
            <a:t>, Security Material, Connectivity Test and etc.</a:t>
          </a:r>
        </a:p>
      </dsp:txBody>
      <dsp:txXfrm rot="-5400000">
        <a:off x="3115376" y="1531639"/>
        <a:ext cx="6351476" cy="571067"/>
      </dsp:txXfrm>
    </dsp:sp>
    <dsp:sp modelId="{3927CA82-029B-4F65-B787-527F0316E7C3}">
      <dsp:nvSpPr>
        <dsp:cNvPr id="0" name=""/>
        <dsp:cNvSpPr/>
      </dsp:nvSpPr>
      <dsp:spPr>
        <a:xfrm>
          <a:off x="457186" y="1379480"/>
          <a:ext cx="2652245" cy="78086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Security</a:t>
          </a:r>
        </a:p>
      </dsp:txBody>
      <dsp:txXfrm>
        <a:off x="495305" y="1417599"/>
        <a:ext cx="2576007" cy="704629"/>
      </dsp:txXfrm>
    </dsp:sp>
    <dsp:sp modelId="{208CD35F-506E-4852-97EC-11D4D892E9DF}">
      <dsp:nvSpPr>
        <dsp:cNvPr id="0" name=""/>
        <dsp:cNvSpPr/>
      </dsp:nvSpPr>
      <dsp:spPr>
        <a:xfrm>
          <a:off x="457194" y="2203867"/>
          <a:ext cx="2630437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Stores</a:t>
          </a:r>
        </a:p>
      </dsp:txBody>
      <dsp:txXfrm>
        <a:off x="489589" y="2236262"/>
        <a:ext cx="2565647" cy="598834"/>
      </dsp:txXfrm>
    </dsp:sp>
    <dsp:sp modelId="{D7DC6412-D4DB-4D03-8417-E89425334E05}">
      <dsp:nvSpPr>
        <dsp:cNvPr id="0" name=""/>
        <dsp:cNvSpPr/>
      </dsp:nvSpPr>
      <dsp:spPr>
        <a:xfrm>
          <a:off x="457194" y="2899864"/>
          <a:ext cx="2630473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Access Logs</a:t>
          </a:r>
        </a:p>
      </dsp:txBody>
      <dsp:txXfrm>
        <a:off x="489589" y="2932259"/>
        <a:ext cx="2565683" cy="598834"/>
      </dsp:txXfrm>
    </dsp:sp>
    <dsp:sp modelId="{EA5382D1-C71F-4710-8FCC-1D2271103CA1}">
      <dsp:nvSpPr>
        <dsp:cNvPr id="0" name=""/>
        <dsp:cNvSpPr/>
      </dsp:nvSpPr>
      <dsp:spPr>
        <a:xfrm>
          <a:off x="469377" y="3602423"/>
          <a:ext cx="2630473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Locks</a:t>
          </a:r>
        </a:p>
      </dsp:txBody>
      <dsp:txXfrm>
        <a:off x="501772" y="3634818"/>
        <a:ext cx="2565683" cy="5988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0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79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10823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415778714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597509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662858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78625099"/>
      </p:ext>
    </p:extLst>
  </p:cSld>
  <p:clrMapOvr>
    <a:masterClrMapping/>
  </p:clrMapOvr>
  <p:transition spd="slow">
    <p:cover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03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</p:sldLayoutIdLst>
  <p:transition spd="slow">
    <p:cover dir="u"/>
  </p:transition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help.sap.com/viewer/368c481cd6954bdfa5d0435479fd4eaf/Cloud/en-US/55325f2a722c4f67bb7752b369b09ff8.html?q=adapters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9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SAP Content Catalog</a:t>
            </a:r>
            <a:endParaRPr lang="en-GB" dirty="0"/>
          </a:p>
        </p:txBody>
      </p:sp>
    </p:spTree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dirty="0">
                <a:latin typeface="+mn-lt"/>
                <a:ea typeface="+mn-ea"/>
                <a:cs typeface="+mn-cs"/>
              </a:rPr>
            </a:br>
            <a:r>
              <a:rPr lang="en-US" sz="3200" dirty="0">
                <a:latin typeface="+mn-lt"/>
                <a:ea typeface="+mn-ea"/>
                <a:cs typeface="+mn-cs"/>
              </a:rPr>
              <a:t>Table of Contents</a:t>
            </a:r>
            <a:endParaRPr lang="en-GB" sz="3200" dirty="0">
              <a:latin typeface="+mn-lt"/>
              <a:ea typeface="+mn-ea"/>
              <a:cs typeface="+mn-cs"/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917688" y="1668130"/>
            <a:ext cx="2962516" cy="459048"/>
          </a:xfrm>
        </p:spPr>
        <p:txBody>
          <a:bodyPr/>
          <a:lstStyle/>
          <a:p>
            <a:r>
              <a:rPr lang="en-US" dirty="0" err="1"/>
              <a:t>WebUI</a:t>
            </a:r>
            <a:endParaRPr lang="en-US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917687" y="2354378"/>
            <a:ext cx="2786313" cy="459048"/>
          </a:xfrm>
        </p:spPr>
        <p:txBody>
          <a:bodyPr/>
          <a:lstStyle/>
          <a:p>
            <a:r>
              <a:rPr lang="en-US" dirty="0"/>
              <a:t>Discover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917688" y="3034830"/>
            <a:ext cx="2962516" cy="459048"/>
          </a:xfrm>
        </p:spPr>
        <p:txBody>
          <a:bodyPr/>
          <a:lstStyle/>
          <a:p>
            <a:r>
              <a:rPr lang="en-IN" dirty="0"/>
              <a:t>Design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17688" y="3718180"/>
            <a:ext cx="2962516" cy="459048"/>
          </a:xfrm>
        </p:spPr>
        <p:txBody>
          <a:bodyPr/>
          <a:lstStyle/>
          <a:p>
            <a:r>
              <a:rPr lang="en-IN" dirty="0"/>
              <a:t>Monitor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105327" y="1649905"/>
            <a:ext cx="506929" cy="495499"/>
            <a:chOff x="6230532" y="1335315"/>
            <a:chExt cx="1204015" cy="1137596"/>
          </a:xfrm>
        </p:grpSpPr>
        <p:sp>
          <p:nvSpPr>
            <p:cNvPr id="38" name="Oval 20">
              <a:extLst>
                <a:ext uri="{FF2B5EF4-FFF2-40B4-BE49-F238E27FC236}">
                  <a16:creationId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9" name="Text Placeholder 14">
              <a:extLst>
                <a:ext uri="{FF2B5EF4-FFF2-40B4-BE49-F238E27FC236}">
                  <a16:creationId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105328" y="2333255"/>
            <a:ext cx="506929" cy="495499"/>
            <a:chOff x="6230534" y="1335315"/>
            <a:chExt cx="1204015" cy="1137595"/>
          </a:xfrm>
        </p:grpSpPr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2" name="Text Placeholder 14">
              <a:extLst>
                <a:ext uri="{FF2B5EF4-FFF2-40B4-BE49-F238E27FC236}">
                  <a16:creationId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2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105328" y="3016605"/>
            <a:ext cx="506929" cy="495499"/>
            <a:chOff x="6230534" y="1335315"/>
            <a:chExt cx="1204015" cy="1137595"/>
          </a:xfrm>
        </p:grpSpPr>
        <p:sp>
          <p:nvSpPr>
            <p:cNvPr id="44" name="Oval 20">
              <a:extLst>
                <a:ext uri="{FF2B5EF4-FFF2-40B4-BE49-F238E27FC236}">
                  <a16:creationId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5" name="Text Placeholder 14">
              <a:extLst>
                <a:ext uri="{FF2B5EF4-FFF2-40B4-BE49-F238E27FC236}">
                  <a16:creationId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3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105328" y="3699955"/>
            <a:ext cx="506929" cy="495499"/>
            <a:chOff x="6230534" y="1335315"/>
            <a:chExt cx="1204015" cy="1137595"/>
          </a:xfrm>
        </p:grpSpPr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3762956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build="p"/>
      <p:bldP spid="34" grpId="0" build="p"/>
      <p:bldP spid="35" grpId="0" build="p"/>
      <p:bldP spid="36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b="1" dirty="0"/>
              <a:t>1.WebUI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2400" y="1104900"/>
            <a:ext cx="11887200" cy="50673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AP CPI 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WebUI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tools allows the developers to Copy/Create a integration content, Deploy and monitor it.</a:t>
            </a:r>
          </a:p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915" y="2209800"/>
            <a:ext cx="5013475" cy="2667000"/>
          </a:xfrm>
          <a:prstGeom prst="rect">
            <a:avLst/>
          </a:prstGeom>
        </p:spPr>
      </p:pic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657022618"/>
              </p:ext>
            </p:extLst>
          </p:nvPr>
        </p:nvGraphicFramePr>
        <p:xfrm>
          <a:off x="304800" y="1676400"/>
          <a:ext cx="6629400" cy="4419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Graphic spid="15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2.Discov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buNone/>
            </a:pPr>
            <a:endParaRPr lang="en-US" dirty="0"/>
          </a:p>
          <a:p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69984" y="914400"/>
            <a:ext cx="5505255" cy="2661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scover contains Standard Integration Content Catalog for various Business processes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Packages are tested and published by SAP/ External Vendors. 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se packages are well documented and released with Configure only/Editable mode. 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tandard packages have to copied to Own workspace and deployed by providing </a:t>
            </a: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2603" y="771697"/>
            <a:ext cx="6252109" cy="274612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2603" y="3777352"/>
            <a:ext cx="6252109" cy="2422986"/>
          </a:xfrm>
          <a:prstGeom prst="rect">
            <a:avLst/>
          </a:prstGeom>
        </p:spPr>
      </p:pic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287400622"/>
              </p:ext>
            </p:extLst>
          </p:nvPr>
        </p:nvGraphicFramePr>
        <p:xfrm>
          <a:off x="381000" y="3517826"/>
          <a:ext cx="4832669" cy="31747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3.Design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69984" y="914400"/>
            <a:ext cx="1164101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sign platform enables the developers to model integration flows configure attributes of the integration flows, and deploy them to the runtime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se contents are bundled together through Packages under which various artifacts can be created based on the requirement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is allows the developer to create custom components based on the Business process from scratch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Graphical designer and Palettes functions are used within the Integration flow for designing complex business flow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53C9603-EC4E-4F25-ABD7-07C9D9CE6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7800" y="3048000"/>
            <a:ext cx="6728232" cy="3051934"/>
          </a:xfrm>
          <a:prstGeom prst="rect">
            <a:avLst/>
          </a:prstGeom>
        </p:spPr>
      </p:pic>
      <p:sp>
        <p:nvSpPr>
          <p:cNvPr id="12" name="Arrow: Down 4">
            <a:extLst>
              <a:ext uri="{FF2B5EF4-FFF2-40B4-BE49-F238E27FC236}">
                <a16:creationId xmlns:a16="http://schemas.microsoft.com/office/drawing/2014/main" id="{20B7FE15-346E-494A-8E4C-5F208E75F621}"/>
              </a:ext>
            </a:extLst>
          </p:cNvPr>
          <p:cNvSpPr/>
          <p:nvPr/>
        </p:nvSpPr>
        <p:spPr>
          <a:xfrm>
            <a:off x="8991600" y="3200400"/>
            <a:ext cx="304800" cy="551327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60428461"/>
              </p:ext>
            </p:extLst>
          </p:nvPr>
        </p:nvGraphicFramePr>
        <p:xfrm>
          <a:off x="609600" y="3200400"/>
          <a:ext cx="4267200" cy="25373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87955373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Graphic spid="2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90600"/>
          </a:xfrm>
        </p:spPr>
        <p:txBody>
          <a:bodyPr/>
          <a:lstStyle/>
          <a:p>
            <a:r>
              <a:rPr lang="en-GB" b="1" dirty="0"/>
              <a:t> 3.Design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04800" y="738572"/>
            <a:ext cx="11700000" cy="504056"/>
          </a:xfrm>
        </p:spPr>
        <p:txBody>
          <a:bodyPr/>
          <a:lstStyle/>
          <a:p>
            <a:r>
              <a:rPr lang="en-IN" b="1" dirty="0"/>
              <a:t>Connectivity Protocols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EE8812-9471-4B98-B721-957613DE5079}"/>
              </a:ext>
            </a:extLst>
          </p:cNvPr>
          <p:cNvSpPr/>
          <p:nvPr/>
        </p:nvSpPr>
        <p:spPr>
          <a:xfrm>
            <a:off x="277368" y="5562600"/>
            <a:ext cx="1021080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756"/>
            <a:r>
              <a:rPr lang="en-IN" sz="1900" dirty="0">
                <a:solidFill>
                  <a:srgbClr val="00264A"/>
                </a:solidFill>
                <a:latin typeface="Benton Sans"/>
              </a:rPr>
              <a:t>Latest list of adapters can be checked from the below URL: </a:t>
            </a:r>
          </a:p>
          <a:p>
            <a:pPr defTabSz="957756"/>
            <a:r>
              <a:rPr lang="en-IN" sz="1600" dirty="0">
                <a:latin typeface="Benton Sans"/>
                <a:hlinkClick r:id="rId2"/>
              </a:rPr>
              <a:t>https://help.sap.com/viewer/368c481cd6954bdfa5d0435479fd4eaf/Cloud/en-US/55325f2a722c4f67bb7752b369b09ff8.html?q=adapters</a:t>
            </a:r>
            <a:endParaRPr lang="en-IN" sz="2000" dirty="0">
              <a:latin typeface="Benton Sans"/>
            </a:endParaRPr>
          </a:p>
          <a:p>
            <a:pPr defTabSz="957756"/>
            <a:endParaRPr lang="en-IN" sz="1600" dirty="0">
              <a:solidFill>
                <a:srgbClr val="00264A">
                  <a:lumMod val="75000"/>
                  <a:lumOff val="25000"/>
                </a:srgbClr>
              </a:solidFill>
              <a:latin typeface="Benton San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44842B-D957-4F89-964D-81045C586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2200" y="1040311"/>
            <a:ext cx="9218985" cy="4472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724402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b="1" dirty="0"/>
              <a:t>4.Monito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99917" y="838200"/>
            <a:ext cx="11887200" cy="55626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n integration developer can use Operation's view to check status of messages and integration content artifacts for a tenant cluster using various sections.</a:t>
            </a:r>
            <a:endParaRPr lang="en-GB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896676240"/>
              </p:ext>
            </p:extLst>
          </p:nvPr>
        </p:nvGraphicFramePr>
        <p:xfrm>
          <a:off x="685800" y="1676400"/>
          <a:ext cx="9982200" cy="4267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33800" y="3935333"/>
            <a:ext cx="6477000" cy="5067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33800" y="4669446"/>
            <a:ext cx="6477000" cy="49381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3800" y="5367459"/>
            <a:ext cx="6477000" cy="536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164269"/>
      </p:ext>
    </p:extLst>
  </p:cSld>
  <p:clrMapOvr>
    <a:masterClrMapping/>
  </p:clrMapOvr>
  <p:transition spd="slow">
    <p:cover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703106"/>
      </p:ext>
    </p:extLst>
  </p:cSld>
  <p:clrMapOvr>
    <a:masterClrMapping/>
  </p:clrMapOvr>
  <p:transition spd="slow">
    <p:cover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B02979C-A92D-418A-B8A5-C9C4551C0B48}"/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1887</TotalTime>
  <Words>326</Words>
  <Application>Microsoft Office PowerPoint</Application>
  <PresentationFormat>Widescreen</PresentationFormat>
  <Paragraphs>59</Paragraphs>
  <Slides>8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Capgemini Master</vt:lpstr>
      <vt:lpstr>Cover options</vt:lpstr>
      <vt:lpstr>Title Slide</vt:lpstr>
      <vt:lpstr>SAP Content Catalog</vt:lpstr>
      <vt:lpstr> Table of Contents</vt:lpstr>
      <vt:lpstr>1.WebUI</vt:lpstr>
      <vt:lpstr>2.Discover</vt:lpstr>
      <vt:lpstr>3.Design</vt:lpstr>
      <vt:lpstr> 3.Design</vt:lpstr>
      <vt:lpstr>4.Monitor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49</cp:revision>
  <dcterms:created xsi:type="dcterms:W3CDTF">2019-06-24T10:07:26Z</dcterms:created>
  <dcterms:modified xsi:type="dcterms:W3CDTF">2021-02-05T11:0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